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Layouts/slideLayout11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3.xml" ContentType="application/vnd.openxmlformats-officedocument.presentationml.notesSlide+xml"/>
  <Override PartName="/ppt/theme/theme2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14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theme/theme15.xml" ContentType="application/vnd.openxmlformats-officedocument.theme+xml"/>
  <Override PartName="/ppt/theme/theme16.xml" ContentType="application/vnd.openxmlformats-officedocument.them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44.xml" ContentType="application/vnd.openxmlformats-officedocument.presentationml.tags+xml"/>
  <Override PartName="/ppt/tags/tag55.xml" ContentType="application/vnd.openxmlformats-officedocument.presentationml.tags+xml"/>
  <Override PartName="/ppt/tags/tag26.xml" ContentType="application/vnd.openxmlformats-officedocument.presentationml.tags+xml"/>
  <Override PartName="/ppt/tags/tag56.xml" ContentType="application/vnd.openxmlformats-officedocument.presentationml.tags+xml"/>
  <Override PartName="/ppt/tags/tag25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47.xml" ContentType="application/vnd.openxmlformats-officedocument.presentationml.tags+xml"/>
  <Override PartName="/ppt/tags/tag40.xml" ContentType="application/vnd.openxmlformats-officedocument.presentationml.tags+xml"/>
  <Override PartName="/ppt/tags/tag30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41.xml" ContentType="application/vnd.openxmlformats-officedocument.presentationml.tags+xml"/>
  <Override PartName="/ppt/tags/tag31.xml" ContentType="application/vnd.openxmlformats-officedocument.presentationml.tags+xml"/>
  <Override PartName="/ppt/tags/tag36.xml" ContentType="application/vnd.openxmlformats-officedocument.presentationml.tags+xml"/>
  <Override PartName="/ppt/tags/tag42.xml" ContentType="application/vnd.openxmlformats-officedocument.presentationml.tags+xml"/>
  <Override PartName="/ppt/tags/tag8.xml" ContentType="application/vnd.openxmlformats-officedocument.presentationml.tags+xml"/>
  <Override PartName="/ppt/tags/tag28.xml" ContentType="application/vnd.openxmlformats-officedocument.presentationml.tags+xml"/>
  <Override PartName="/ppt/tags/tag32.xml" ContentType="application/vnd.openxmlformats-officedocument.presentationml.tags+xml"/>
  <Override PartName="/ppt/tags/tag37.xml" ContentType="application/vnd.openxmlformats-officedocument.presentationml.tags+xml"/>
  <Override PartName="/ppt/tags/tag33.xml" ContentType="application/vnd.openxmlformats-officedocument.presentationml.tags+xml"/>
  <Override PartName="/ppt/tags/tag38.xml" ContentType="application/vnd.openxmlformats-officedocument.presentationml.tags+xml"/>
  <Override PartName="/ppt/tags/tag7.xml" ContentType="application/vnd.openxmlformats-officedocument.presentationml.tags+xml"/>
  <Override PartName="/ppt/tags/tag48.xml" ContentType="application/vnd.openxmlformats-officedocument.presentationml.tags+xml"/>
  <Override PartName="/ppt/tags/tag34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2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ppt/tags/tag39.xml" ContentType="application/vnd.openxmlformats-officedocument.presentationml.tags+xml"/>
  <Override PartName="/ppt/tags/tag51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29.xml" ContentType="application/vnd.openxmlformats-officedocument.presentationml.tags+xml"/>
  <Override PartName="/ppt/tags/tag53.xml" ContentType="application/vnd.openxmlformats-officedocument.presentationml.tags+xml"/>
  <Override PartName="/ppt/tags/tag35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customXml/itemProps4.xml" ContentType="application/vnd.openxmlformats-officedocument.customXmlProperties+xml"/>
  <Override PartName="/customXml/itemProps5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8" r:id="rId5"/>
    <p:sldMasterId id="2147483685" r:id="rId6"/>
    <p:sldMasterId id="2147483797" r:id="rId7"/>
    <p:sldMasterId id="2147483807" r:id="rId8"/>
    <p:sldMasterId id="2147483808" r:id="rId9"/>
    <p:sldMasterId id="2147483810" r:id="rId10"/>
    <p:sldMasterId id="2147483812" r:id="rId11"/>
    <p:sldMasterId id="2147483814" r:id="rId12"/>
    <p:sldMasterId id="2147483816" r:id="rId13"/>
    <p:sldMasterId id="2147483817" r:id="rId14"/>
    <p:sldMasterId id="2147483818" r:id="rId15"/>
    <p:sldMasterId id="2147483820" r:id="rId16"/>
    <p:sldMasterId id="2147483822" r:id="rId17"/>
    <p:sldMasterId id="2147483824" r:id="rId18"/>
    <p:sldMasterId id="2147483826" r:id="rId19"/>
  </p:sldMasterIdLst>
  <p:notesMasterIdLst>
    <p:notesMasterId r:id="rId34"/>
  </p:notesMasterIdLst>
  <p:handoutMasterIdLst>
    <p:handoutMasterId r:id="rId35"/>
  </p:handoutMasterIdLst>
  <p:sldIdLst>
    <p:sldId id="266" r:id="rId20"/>
    <p:sldId id="1691" r:id="rId21"/>
    <p:sldId id="4152" r:id="rId22"/>
    <p:sldId id="4157" r:id="rId23"/>
    <p:sldId id="1700" r:id="rId24"/>
    <p:sldId id="1699" r:id="rId25"/>
    <p:sldId id="4163" r:id="rId26"/>
    <p:sldId id="4164" r:id="rId27"/>
    <p:sldId id="4156" r:id="rId28"/>
    <p:sldId id="4151" r:id="rId29"/>
    <p:sldId id="1586" r:id="rId30"/>
    <p:sldId id="1550" r:id="rId31"/>
    <p:sldId id="4169" r:id="rId32"/>
    <p:sldId id="274" r:id="rId33"/>
  </p:sldIdLst>
  <p:sldSz cx="12192000" cy="6858000"/>
  <p:notesSz cx="6865938" cy="99949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960D"/>
    <a:srgbClr val="9C2626"/>
    <a:srgbClr val="CCD6CE"/>
    <a:srgbClr val="1B455E"/>
    <a:srgbClr val="E6EEF6"/>
    <a:srgbClr val="65B32E"/>
    <a:srgbClr val="02304C"/>
    <a:srgbClr val="FAEAED"/>
    <a:srgbClr val="FF5465"/>
    <a:srgbClr val="F9FA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29" autoAdjust="0"/>
    <p:restoredTop sz="94668" autoAdjust="0"/>
  </p:normalViewPr>
  <p:slideViewPr>
    <p:cSldViewPr snapToGrid="0">
      <p:cViewPr varScale="1">
        <p:scale>
          <a:sx n="142" d="100"/>
          <a:sy n="142" d="100"/>
        </p:scale>
        <p:origin x="1432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88"/>
    </p:cViewPr>
  </p:sorterViewPr>
  <p:notesViewPr>
    <p:cSldViewPr snapToGrid="0">
      <p:cViewPr varScale="1">
        <p:scale>
          <a:sx n="149" d="100"/>
          <a:sy n="149" d="100"/>
        </p:scale>
        <p:origin x="3064" y="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9" Type="http://schemas.openxmlformats.org/officeDocument/2006/relationships/theme" Target="theme/theme1.xml"/><Relationship Id="rId21" Type="http://schemas.openxmlformats.org/officeDocument/2006/relationships/slide" Target="slides/slide2.xml"/><Relationship Id="rId34" Type="http://schemas.openxmlformats.org/officeDocument/2006/relationships/notesMaster" Target="notesMasters/notesMaster1.xml"/><Relationship Id="rId42" Type="http://schemas.openxmlformats.org/officeDocument/2006/relationships/customXml" Target="../customXml/item5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41" Type="http://schemas.openxmlformats.org/officeDocument/2006/relationships/customXml" Target="../customXml/item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584970-029F-2231-B29A-66992CA99EC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9110" y="4"/>
            <a:ext cx="2975239" cy="501480"/>
          </a:xfrm>
          <a:prstGeom prst="rect">
            <a:avLst/>
          </a:prstGeom>
        </p:spPr>
        <p:txBody>
          <a:bodyPr vert="horz" lIns="96336" tIns="48168" rIns="96336" bIns="48168" rtlCol="0"/>
          <a:lstStyle>
            <a:lvl1pPr algn="r">
              <a:defRPr sz="1300"/>
            </a:lvl1pPr>
          </a:lstStyle>
          <a:p>
            <a:fld id="{2E07F0EF-4507-4E0D-84F1-8A05E36CF188}" type="datetimeFigureOut">
              <a:rPr lang="en-BE" smtClean="0"/>
              <a:t>06/24/2024</a:t>
            </a:fld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762273-6059-225E-35FB-4C8516AB771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93423"/>
            <a:ext cx="2975239" cy="501479"/>
          </a:xfrm>
          <a:prstGeom prst="rect">
            <a:avLst/>
          </a:prstGeom>
        </p:spPr>
        <p:txBody>
          <a:bodyPr vert="horz" lIns="96336" tIns="48168" rIns="96336" bIns="48168" rtlCol="0" anchor="b"/>
          <a:lstStyle>
            <a:lvl1pPr algn="l">
              <a:defRPr sz="1300"/>
            </a:lvl1pPr>
          </a:lstStyle>
          <a:p>
            <a:r>
              <a:rPr lang="en-US"/>
              <a:t>Date and place</a:t>
            </a:r>
            <a:endParaRPr lang="en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A5FE31-C0F3-2BAB-3704-5D8D6B37891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9110" y="9493423"/>
            <a:ext cx="2975239" cy="501479"/>
          </a:xfrm>
          <a:prstGeom prst="rect">
            <a:avLst/>
          </a:prstGeom>
        </p:spPr>
        <p:txBody>
          <a:bodyPr vert="horz" lIns="96336" tIns="48168" rIns="96336" bIns="48168" rtlCol="0" anchor="b"/>
          <a:lstStyle>
            <a:lvl1pPr algn="r">
              <a:defRPr sz="1300"/>
            </a:lvl1pPr>
          </a:lstStyle>
          <a:p>
            <a:fld id="{48C03E17-5F0D-41A8-B3B9-2B0C4E9D6C07}" type="slidenum">
              <a:rPr lang="en-BE" smtClean="0"/>
              <a:t>‹#›</a:t>
            </a:fld>
            <a:endParaRPr lang="en-BE"/>
          </a:p>
        </p:txBody>
      </p:sp>
      <p:sp>
        <p:nvSpPr>
          <p:cNvPr id="6" name="Header Placeholder 5">
            <a:extLst>
              <a:ext uri="{FF2B5EF4-FFF2-40B4-BE49-F238E27FC236}">
                <a16:creationId xmlns:a16="http://schemas.microsoft.com/office/drawing/2014/main" id="{97F57BCC-8EE8-E494-847D-BA946AC2258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4"/>
            <a:ext cx="2975239" cy="501480"/>
          </a:xfrm>
          <a:prstGeom prst="rect">
            <a:avLst/>
          </a:prstGeom>
        </p:spPr>
        <p:txBody>
          <a:bodyPr vert="horz" lIns="96336" tIns="48168" rIns="96336" bIns="48168" rtlCol="0"/>
          <a:lstStyle>
            <a:lvl1pPr algn="l">
              <a:defRPr sz="1300"/>
            </a:lvl1pPr>
          </a:lstStyle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91382476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12T10:33:07.243"/>
    </inkml:context>
    <inkml:brush xml:id="br0">
      <inkml:brushProperty name="width" value="0.2" units="cm"/>
      <inkml:brushProperty name="height" value="0.4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940 165,'-6'1,"0"-1,0 2,0-1,0 1,-9 4,-19 4,-36 1,1-3,-94-1,-479 6,168-8,275-6,175 1,-2 0,1 0,-37-6,55 4,-1 1,1-1,-1-1,1 1,0-1,0-1,0 1,1-1,-1 0,1 0,0-1,-8-7,13 11,0 0,0 0,0 0,1 0,-1 0,0 0,1 0,-1 0,1 0,-1 0,1 0,-1-1,1 1,0 0,-1 0,1 0,0-1,0 1,0 0,0 0,0-1,1-1,0 1,-1 0,1 0,1-1,-1 1,0 0,0 0,1 0,-1 1,1-1,-1 0,3-1,6-5,-1 1,1 1,19-10,40-12,-48 21,35-18,-47 21,-1 0,1 1,-1 0,1 0,0 1,0 0,18-1,4 2,31 3,-6 1,12-2,0 3,86 16,-23 0,-74-15,101-5,-64-2,546 2,-621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12T10:33:13.619"/>
    </inkml:context>
    <inkml:brush xml:id="br0">
      <inkml:brushProperty name="width" value="0.2" units="cm"/>
      <inkml:brushProperty name="height" value="0.4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956 84,'-1'1,"1"-1,0 1,0 0,0-1,-1 1,1-1,0 1,-1-1,1 1,0-1,-1 1,1-1,-1 1,1-1,-1 1,1-1,-1 0,1 1,-1-1,1 0,-1 0,1 1,-1-1,0 0,1 0,-1 0,-1 1,-19 2,17-3,-133 2,86-2,40-1,0 0,0-1,0-1,0 1,-11-6,9 4,0 0,-27-4,2 5,-144-10,-103-6,-188 5,319 15,124 0,-4-1,1-1,-60-8,58 4,0 2,0 1,-41 4,12-1,45-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12T10:33:16.868"/>
    </inkml:context>
    <inkml:brush xml:id="br0">
      <inkml:brushProperty name="width" value="0.2" units="cm"/>
      <inkml:brushProperty name="height" value="0.4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587 0,'-1'1,"1"-1,0 1,0 0,-1-1,1 1,0-1,-1 1,1-1,-1 1,1-1,-1 1,1-1,-1 1,1-1,-1 0,1 1,-1-1,0 0,1 1,-1-1,0 0,1 0,-1 0,1 1,-1-1,-1 0,-21 3,19-3,-244 4,133-6,46 6,1 3,-122 28,86-13,57-12,19-4,0-1,-1-1,-33 0,-476-5,520 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6-12T10:33:38.055"/>
    </inkml:context>
    <inkml:brush xml:id="br0">
      <inkml:brushProperty name="width" value="0.2" units="cm"/>
      <inkml:brushProperty name="height" value="0.4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17,'367'1,"404"-2,-493-7,97-1,616 10,-977-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2975239" cy="501480"/>
          </a:xfrm>
          <a:prstGeom prst="rect">
            <a:avLst/>
          </a:prstGeom>
        </p:spPr>
        <p:txBody>
          <a:bodyPr vert="horz" lIns="96336" tIns="48168" rIns="96336" bIns="48168" rtlCol="0"/>
          <a:lstStyle>
            <a:lvl1pPr algn="l" rtl="0">
              <a:defRPr sz="13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9110" y="4"/>
            <a:ext cx="2975239" cy="501480"/>
          </a:xfrm>
          <a:prstGeom prst="rect">
            <a:avLst/>
          </a:prstGeom>
        </p:spPr>
        <p:txBody>
          <a:bodyPr vert="horz" lIns="96336" tIns="48168" rIns="96336" bIns="48168" rtlCol="0"/>
          <a:lstStyle>
            <a:lvl1pPr algn="r" rtl="0">
              <a:defRPr sz="1300"/>
            </a:lvl1pPr>
          </a:lstStyle>
          <a:p>
            <a:fld id="{7E4BE29C-C5D5-4C40-9CAC-5BB93AD0FB7D}" type="datetimeFigureOut">
              <a:rPr lang="en-GB" smtClean="0"/>
              <a:pPr/>
              <a:t>24/06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3388" y="1247775"/>
            <a:ext cx="5999162" cy="3375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36" tIns="48168" rIns="96336" bIns="48168" rtlCol="0" anchor="ctr"/>
          <a:lstStyle/>
          <a:p>
            <a:endParaRPr lang="en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594" y="4810049"/>
            <a:ext cx="5492750" cy="3935493"/>
          </a:xfrm>
          <a:prstGeom prst="rect">
            <a:avLst/>
          </a:prstGeom>
        </p:spPr>
        <p:txBody>
          <a:bodyPr vert="horz" lIns="96336" tIns="48168" rIns="96336" bIns="48168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93423"/>
            <a:ext cx="2975239" cy="501479"/>
          </a:xfrm>
          <a:prstGeom prst="rect">
            <a:avLst/>
          </a:prstGeom>
        </p:spPr>
        <p:txBody>
          <a:bodyPr vert="horz" lIns="96336" tIns="48168" rIns="96336" bIns="48168" rtlCol="0" anchor="b"/>
          <a:lstStyle>
            <a:lvl1pPr algn="l" rtl="0">
              <a:defRPr sz="1300"/>
            </a:lvl1pPr>
          </a:lstStyle>
          <a:p>
            <a:r>
              <a:rPr lang="en-GB"/>
              <a:t>Date and plac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9110" y="9493423"/>
            <a:ext cx="2975239" cy="501479"/>
          </a:xfrm>
          <a:prstGeom prst="rect">
            <a:avLst/>
          </a:prstGeom>
        </p:spPr>
        <p:txBody>
          <a:bodyPr vert="horz" lIns="96336" tIns="48168" rIns="96336" bIns="48168" rtlCol="0" anchor="b"/>
          <a:lstStyle>
            <a:lvl1pPr algn="r" rtl="0">
              <a:defRPr sz="1300"/>
            </a:lvl1pPr>
          </a:lstStyle>
          <a:p>
            <a:fld id="{C5A580D8-E5F2-453B-A057-8B3D66DBF43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804441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 dirty="0"/>
              <a:t>Date and pla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A580D8-E5F2-453B-A057-8B3D66DBF434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55732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 dirty="0"/>
              <a:t>Date and pla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A580D8-E5F2-453B-A057-8B3D66DBF434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98974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teroperability gaps to be closed on these levels…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Date and plac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A580D8-E5F2-453B-A057-8B3D66DBF434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9171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 dirty="0"/>
              <a:t>Date and pla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A580D8-E5F2-453B-A057-8B3D66DBF434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98974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 dirty="0"/>
              <a:t>Date and pla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A580D8-E5F2-453B-A057-8B3D66DBF434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4126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13" Type="http://schemas.openxmlformats.org/officeDocument/2006/relationships/image" Target="../media/image10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11" Type="http://schemas.openxmlformats.org/officeDocument/2006/relationships/image" Target="../media/image8.sv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10" Type="http://schemas.openxmlformats.org/officeDocument/2006/relationships/image" Target="../media/image10.svg"/><Relationship Id="rId4" Type="http://schemas.openxmlformats.org/officeDocument/2006/relationships/image" Target="../media/image1.emf"/><Relationship Id="rId9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13" Type="http://schemas.openxmlformats.org/officeDocument/2006/relationships/image" Target="../media/image16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7.png"/><Relationship Id="rId12" Type="http://schemas.openxmlformats.org/officeDocument/2006/relationships/image" Target="../media/image5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6" Type="http://schemas.openxmlformats.org/officeDocument/2006/relationships/image" Target="../media/image14.svg"/><Relationship Id="rId11" Type="http://schemas.openxmlformats.org/officeDocument/2006/relationships/image" Target="../media/image4.png"/><Relationship Id="rId5" Type="http://schemas.openxmlformats.org/officeDocument/2006/relationships/image" Target="../media/image13.png"/><Relationship Id="rId10" Type="http://schemas.openxmlformats.org/officeDocument/2006/relationships/image" Target="../media/image15.svg"/><Relationship Id="rId4" Type="http://schemas.openxmlformats.org/officeDocument/2006/relationships/image" Target="../media/image1.emf"/><Relationship Id="rId9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06A08A-4625-7DC5-6CC1-52ABB491CA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438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41466544-D853-4FEB-946E-004431C706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4688" r="34936"/>
          <a:stretch/>
        </p:blipFill>
        <p:spPr>
          <a:xfrm>
            <a:off x="7729927" y="0"/>
            <a:ext cx="4462073" cy="4479064"/>
          </a:xfrm>
          <a:prstGeom prst="rect">
            <a:avLst/>
          </a:prstGeom>
        </p:spPr>
      </p:pic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BE826A7B-16E4-46BB-9937-832A9E3ACD6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972809" y="1190270"/>
            <a:ext cx="4927730" cy="4917828"/>
          </a:xfrm>
          <a:custGeom>
            <a:avLst/>
            <a:gdLst>
              <a:gd name="connsiteX0" fmla="*/ 2275860 w 4551362"/>
              <a:gd name="connsiteY0" fmla="*/ 0 h 4551363"/>
              <a:gd name="connsiteX1" fmla="*/ 4540170 w 4551362"/>
              <a:gd name="connsiteY1" fmla="*/ 2043347 h 4551363"/>
              <a:gd name="connsiteX2" fmla="*/ 4551362 w 4551362"/>
              <a:gd name="connsiteY2" fmla="*/ 2264991 h 4551363"/>
              <a:gd name="connsiteX3" fmla="*/ 4551362 w 4551362"/>
              <a:gd name="connsiteY3" fmla="*/ 2287131 h 4551363"/>
              <a:gd name="connsiteX4" fmla="*/ 4540170 w 4551362"/>
              <a:gd name="connsiteY4" fmla="*/ 2508775 h 4551363"/>
              <a:gd name="connsiteX5" fmla="*/ 2508574 w 4551362"/>
              <a:gd name="connsiteY5" fmla="*/ 4540371 h 4551363"/>
              <a:gd name="connsiteX6" fmla="*/ 2290890 w 4551362"/>
              <a:gd name="connsiteY6" fmla="*/ 4551363 h 4551363"/>
              <a:gd name="connsiteX7" fmla="*/ 2260830 w 4551362"/>
              <a:gd name="connsiteY7" fmla="*/ 4551363 h 4551363"/>
              <a:gd name="connsiteX8" fmla="*/ 2043146 w 4551362"/>
              <a:gd name="connsiteY8" fmla="*/ 4540371 h 4551363"/>
              <a:gd name="connsiteX9" fmla="*/ 11550 w 4551362"/>
              <a:gd name="connsiteY9" fmla="*/ 2508775 h 4551363"/>
              <a:gd name="connsiteX10" fmla="*/ 0 w 4551362"/>
              <a:gd name="connsiteY10" fmla="*/ 2280043 h 4551363"/>
              <a:gd name="connsiteX11" fmla="*/ 0 w 4551362"/>
              <a:gd name="connsiteY11" fmla="*/ 2272080 h 4551363"/>
              <a:gd name="connsiteX12" fmla="*/ 11550 w 4551362"/>
              <a:gd name="connsiteY12" fmla="*/ 2043347 h 4551363"/>
              <a:gd name="connsiteX13" fmla="*/ 2275860 w 4551362"/>
              <a:gd name="connsiteY13" fmla="*/ 0 h 455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551362" h="4551363">
                <a:moveTo>
                  <a:pt x="2275860" y="0"/>
                </a:moveTo>
                <a:cubicBezTo>
                  <a:pt x="3454329" y="0"/>
                  <a:pt x="4423613" y="895629"/>
                  <a:pt x="4540170" y="2043347"/>
                </a:cubicBezTo>
                <a:lnTo>
                  <a:pt x="4551362" y="2264991"/>
                </a:lnTo>
                <a:lnTo>
                  <a:pt x="4551362" y="2287131"/>
                </a:lnTo>
                <a:lnTo>
                  <a:pt x="4540170" y="2508775"/>
                </a:lnTo>
                <a:cubicBezTo>
                  <a:pt x="4431383" y="3579979"/>
                  <a:pt x="3579777" y="4431585"/>
                  <a:pt x="2508574" y="4540371"/>
                </a:cubicBezTo>
                <a:lnTo>
                  <a:pt x="2290890" y="4551363"/>
                </a:lnTo>
                <a:lnTo>
                  <a:pt x="2260830" y="4551363"/>
                </a:lnTo>
                <a:lnTo>
                  <a:pt x="2043146" y="4540371"/>
                </a:lnTo>
                <a:cubicBezTo>
                  <a:pt x="971943" y="4431585"/>
                  <a:pt x="120337" y="3579979"/>
                  <a:pt x="11550" y="2508775"/>
                </a:cubicBezTo>
                <a:lnTo>
                  <a:pt x="0" y="2280043"/>
                </a:lnTo>
                <a:lnTo>
                  <a:pt x="0" y="2272080"/>
                </a:lnTo>
                <a:lnTo>
                  <a:pt x="11550" y="2043347"/>
                </a:lnTo>
                <a:cubicBezTo>
                  <a:pt x="128107" y="895629"/>
                  <a:pt x="1097391" y="0"/>
                  <a:pt x="2275860" y="0"/>
                </a:cubicBezTo>
                <a:close/>
              </a:path>
            </a:pathLst>
          </a:custGeom>
          <a:solidFill>
            <a:srgbClr val="65B32E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>
                <a:latin typeface="Open Sans Medium"/>
              </a:defRPr>
            </a:lvl1pPr>
          </a:lstStyle>
          <a:p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F02697B6-A588-418D-8150-8360D90589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t="50000"/>
          <a:stretch/>
        </p:blipFill>
        <p:spPr>
          <a:xfrm>
            <a:off x="1225217" y="0"/>
            <a:ext cx="1507957" cy="75397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F695BB3-49AA-48F2-9CF3-768095E2F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7"/>
            <a:ext cx="4479758" cy="1325563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1A6EB0-9B71-49C5-99F4-8EBB27F350E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0993" y="6226232"/>
            <a:ext cx="1910014" cy="400891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36C41D7A-F152-6D9C-C50B-8CF42013261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937040" y="758063"/>
            <a:ext cx="1639030" cy="50156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9F0F5EAE-65D6-D06B-F6C8-F97C57B45A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24684"/>
          <a:stretch/>
        </p:blipFill>
        <p:spPr>
          <a:xfrm>
            <a:off x="10341620" y="758063"/>
            <a:ext cx="1234449" cy="501561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5357E6-55E2-3630-3D1F-9357360B891C}"/>
              </a:ext>
            </a:extLst>
          </p:cNvPr>
          <p:cNvCxnSpPr>
            <a:cxnSpLocks/>
          </p:cNvCxnSpPr>
          <p:nvPr userDrawn="1"/>
        </p:nvCxnSpPr>
        <p:spPr>
          <a:xfrm>
            <a:off x="396815" y="6487342"/>
            <a:ext cx="2681264" cy="0"/>
          </a:xfrm>
          <a:prstGeom prst="line">
            <a:avLst/>
          </a:prstGeom>
          <a:ln w="19050">
            <a:solidFill>
              <a:srgbClr val="65B3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19DB155A-B60B-B7A2-EBFE-343D6AC4D43D}"/>
              </a:ext>
            </a:extLst>
          </p:cNvPr>
          <p:cNvSpPr>
            <a:spLocks noGrp="1"/>
          </p:cNvSpPr>
          <p:nvPr userDrawn="1">
            <p:ph type="dt" sz="half" idx="15"/>
          </p:nvPr>
        </p:nvSpPr>
        <p:spPr>
          <a:xfrm>
            <a:off x="334879" y="6516313"/>
            <a:ext cx="2743200" cy="268785"/>
          </a:xfrm>
          <a:prstGeom prst="rect">
            <a:avLst/>
          </a:prstGeom>
        </p:spPr>
        <p:txBody>
          <a:bodyPr/>
          <a:lstStyle>
            <a:lvl1pPr rtl="0">
              <a:defRPr sz="1600">
                <a:latin typeface="Open Sans Medium"/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68B33679-0CB5-E8E3-9EA2-92987EBB6B9E}"/>
              </a:ext>
            </a:extLst>
          </p:cNvPr>
          <p:cNvSpPr>
            <a:spLocks noGrp="1"/>
          </p:cNvSpPr>
          <p:nvPr userDrawn="1">
            <p:ph type="ftr" sz="quarter" idx="16"/>
          </p:nvPr>
        </p:nvSpPr>
        <p:spPr>
          <a:xfrm>
            <a:off x="334879" y="6122218"/>
            <a:ext cx="5134268" cy="322917"/>
          </a:xfrm>
          <a:prstGeom prst="rect">
            <a:avLst/>
          </a:prstGeom>
        </p:spPr>
        <p:txBody>
          <a:bodyPr/>
          <a:lstStyle>
            <a:lvl1pPr algn="l" rtl="0">
              <a:defRPr sz="1600" b="1">
                <a:solidFill>
                  <a:srgbClr val="02304C"/>
                </a:solidFill>
                <a:latin typeface="Open Sans Medium"/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9675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7B4129-2A63-C548-79CE-8C72BAAB07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9069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38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27381" y="6480000"/>
            <a:ext cx="7440000" cy="180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21D0C53-F489-2644-B271-69238D514B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0688677-ACFB-1546-BB66-A96C0E4742F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DF8D9D5-A59E-EA4F-BBDB-BA05293D3F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19201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99800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D12979B-41E8-F879-CDED-9FEC8BFDDE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0847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38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27381" y="6480000"/>
            <a:ext cx="7440000" cy="180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21D0C53-F489-2644-B271-69238D514B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0688677-ACFB-1546-BB66-A96C0E4742F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DF8D9D5-A59E-EA4F-BBDB-BA05293D3F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19201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9980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0E8D8E4-8F71-1A3E-47FE-D27AE6A18A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9004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38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27381" y="6480000"/>
            <a:ext cx="7440000" cy="180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21D0C53-F489-2644-B271-69238D514B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0688677-ACFB-1546-BB66-A96C0E4742F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DF8D9D5-A59E-EA4F-BBDB-BA05293D3F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19201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99800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4832FE4-71C1-2603-4153-45522A969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0649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 anchorCtr="0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 sz="2667" b="1">
                <a:solidFill>
                  <a:schemeClr val="tx1"/>
                </a:solidFill>
                <a:latin typeface="+mn-lt"/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 typeface="Arial" pitchFamily="34" charset="0"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algn="l">
              <a:defRPr sz="2133" b="0" cap="none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381" y="6480000"/>
            <a:ext cx="7440000" cy="180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43AFECF-EF70-2243-B86B-3DB64CEF0A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D51F0CD-0045-A94C-B03D-BFCA32488C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6932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9DB36CA-EFAE-2E9D-A835-7002A6DFAC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2147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38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27381" y="6480000"/>
            <a:ext cx="7440000" cy="180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21D0C53-F489-2644-B271-69238D514B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0688677-ACFB-1546-BB66-A96C0E4742F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DF8D9D5-A59E-EA4F-BBDB-BA05293D3F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19201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99800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2301807-0D22-46A1-46DF-63214F40AA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874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38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27381" y="6480000"/>
            <a:ext cx="7440000" cy="180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21D0C53-F489-2644-B271-69238D514B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0688677-ACFB-1546-BB66-A96C0E4742F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DF8D9D5-A59E-EA4F-BBDB-BA05293D3F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19201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99800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F94AAA0-D9FC-086C-2153-5EC0724644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249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38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27381" y="6480000"/>
            <a:ext cx="7440000" cy="180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21D0C53-F489-2644-B271-69238D514B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0688677-ACFB-1546-BB66-A96C0E4742F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DF8D9D5-A59E-EA4F-BBDB-BA05293D3F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19201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99800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2A6B96-6861-2323-E4AE-57399AD73F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266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38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27381" y="6480000"/>
            <a:ext cx="7440000" cy="180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21D0C53-F489-2644-B271-69238D514B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0688677-ACFB-1546-BB66-A96C0E4742F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DF8D9D5-A59E-EA4F-BBDB-BA05293D3F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19201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99800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C1636F1-0150-80B4-20AA-D642DB8872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46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anchor="ctr" anchorCtr="0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 sz="2667" b="1">
                <a:solidFill>
                  <a:schemeClr val="tx1"/>
                </a:solidFill>
                <a:latin typeface="+mn-lt"/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 typeface="Arial" pitchFamily="34" charset="0"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algn="l">
              <a:defRPr sz="2133" b="0" cap="none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7381" y="6480000"/>
            <a:ext cx="7440000" cy="180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43AFECF-EF70-2243-B86B-3DB64CEF0A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D51F0CD-0045-A94C-B03D-BFCA32488C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6932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s">
    <p:bg>
      <p:bgPr>
        <a:solidFill>
          <a:srgbClr val="F9FA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4E1BDAD-F866-9B84-6F77-21E57E0E2B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024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c 7">
            <a:extLst>
              <a:ext uri="{FF2B5EF4-FFF2-40B4-BE49-F238E27FC236}">
                <a16:creationId xmlns:a16="http://schemas.microsoft.com/office/drawing/2014/main" id="{C0681C26-2BFC-4B02-BDB0-AC089F1C51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 rot="10800000">
            <a:off x="10816349" y="0"/>
            <a:ext cx="1375360" cy="1375360"/>
          </a:xfrm>
          <a:prstGeom prst="rect">
            <a:avLst/>
          </a:prstGeom>
        </p:spPr>
      </p:pic>
      <p:sp>
        <p:nvSpPr>
          <p:cNvPr id="23" name="Table Placeholder 22">
            <a:extLst>
              <a:ext uri="{FF2B5EF4-FFF2-40B4-BE49-F238E27FC236}">
                <a16:creationId xmlns:a16="http://schemas.microsoft.com/office/drawing/2014/main" id="{C4E2D344-3F94-460A-A686-9C29DF9914F3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579531" y="1987476"/>
            <a:ext cx="3444918" cy="673016"/>
          </a:xfrm>
          <a:prstGeom prst="rect">
            <a:avLst/>
          </a:prstGeom>
          <a:solidFill>
            <a:srgbClr val="F9FAFD"/>
          </a:solidFill>
          <a:ln>
            <a:solidFill>
              <a:srgbClr val="02304C"/>
            </a:solidFill>
          </a:ln>
        </p:spPr>
        <p:txBody>
          <a:bodyPr/>
          <a:lstStyle>
            <a:lvl1pPr>
              <a:defRPr sz="1400">
                <a:solidFill>
                  <a:schemeClr val="bg1">
                    <a:lumMod val="1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FF55A5-3F2E-BB8E-6B1F-ECFE9FD1F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919116-5064-3F50-6443-55EAE21AF69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34879" y="6516313"/>
            <a:ext cx="2743200" cy="268785"/>
          </a:xfrm>
          <a:prstGeom prst="rect">
            <a:avLst/>
          </a:prstGeom>
        </p:spPr>
        <p:txBody>
          <a:bodyPr/>
          <a:lstStyle>
            <a:lvl1pPr rtl="0">
              <a:defRPr sz="1600">
                <a:latin typeface="Open Sans Medium"/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7DBDA4-0C7A-593C-EF2E-DB24B184B97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34879" y="6122218"/>
            <a:ext cx="4114800" cy="322917"/>
          </a:xfrm>
          <a:prstGeom prst="rect">
            <a:avLst/>
          </a:prstGeom>
        </p:spPr>
        <p:txBody>
          <a:bodyPr/>
          <a:lstStyle>
            <a:lvl1pPr algn="l" rtl="0">
              <a:defRPr sz="1600" b="1">
                <a:solidFill>
                  <a:srgbClr val="02304C"/>
                </a:solidFill>
                <a:latin typeface="Open Sans Medium"/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7651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FB2CA7-8B10-97A8-5BE0-F82761322B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223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0BA2A7AF-DF13-A570-B614-4C07FB679C4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34879" y="6516313"/>
            <a:ext cx="2743200" cy="268785"/>
          </a:xfrm>
          <a:prstGeom prst="rect">
            <a:avLst/>
          </a:prstGeom>
        </p:spPr>
        <p:txBody>
          <a:bodyPr/>
          <a:lstStyle>
            <a:lvl1pPr rtl="0">
              <a:defRPr sz="1600">
                <a:latin typeface="Open Sans Medium"/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B74B3052-A8DF-CCE7-BFE7-1038004BA66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34879" y="6122218"/>
            <a:ext cx="4114800" cy="322917"/>
          </a:xfrm>
          <a:prstGeom prst="rect">
            <a:avLst/>
          </a:prstGeom>
        </p:spPr>
        <p:txBody>
          <a:bodyPr/>
          <a:lstStyle>
            <a:lvl1pPr algn="l" rtl="0">
              <a:defRPr sz="1600" b="1">
                <a:solidFill>
                  <a:srgbClr val="02304C"/>
                </a:solidFill>
                <a:latin typeface="Open Sans Medium"/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9B987C3-9D83-1811-55C6-2AF20ED48E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50000"/>
          <a:stretch/>
        </p:blipFill>
        <p:spPr>
          <a:xfrm rot="10800000">
            <a:off x="10816349" y="0"/>
            <a:ext cx="1375360" cy="1375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444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202AF7-82AF-C0EB-939F-F6F1BBCA50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456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6DA5E6-A277-1237-88B6-F548F492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C114B1-9205-B67E-4519-0823F55DF0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79654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G text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312E9E-5C5C-62B1-8444-E4FB51F7C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3686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phic 12">
            <a:extLst>
              <a:ext uri="{FF2B5EF4-FFF2-40B4-BE49-F238E27FC236}">
                <a16:creationId xmlns:a16="http://schemas.microsoft.com/office/drawing/2014/main" id="{E2E0A6AA-83F2-4C65-AB6A-80546D9BF4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49791"/>
          <a:stretch/>
        </p:blipFill>
        <p:spPr>
          <a:xfrm rot="10800000">
            <a:off x="10816640" y="0"/>
            <a:ext cx="1375360" cy="1381126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B233B5-564B-42D0-91A2-B4FBD36921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4970" y="2157413"/>
            <a:ext cx="7371013" cy="2639176"/>
          </a:xfrm>
          <a:prstGeom prst="rect">
            <a:avLst/>
          </a:prstGeom>
        </p:spPr>
        <p:txBody>
          <a:bodyPr/>
          <a:lstStyle>
            <a:lvl1pPr rtl="0">
              <a:defRPr sz="16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sz="16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endParaRPr lang="en-GB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B98F04F-65D9-400D-B963-CE6780282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70" y="346061"/>
            <a:ext cx="835193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sz="3800" b="1">
                <a:latin typeface="Open Sans Medium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C9A28099-66FF-8EE3-96D0-BD622D3D826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34879" y="6516313"/>
            <a:ext cx="2743200" cy="268785"/>
          </a:xfrm>
          <a:prstGeom prst="rect">
            <a:avLst/>
          </a:prstGeom>
        </p:spPr>
        <p:txBody>
          <a:bodyPr/>
          <a:lstStyle>
            <a:lvl1pPr rtl="0">
              <a:defRPr sz="1600">
                <a:solidFill>
                  <a:schemeClr val="bg1"/>
                </a:solidFill>
                <a:latin typeface="Open Sans Medium"/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236FF06-17DE-ADF5-CC9C-91B13A21928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34879" y="6122218"/>
            <a:ext cx="4114800" cy="322917"/>
          </a:xfrm>
          <a:prstGeom prst="rect">
            <a:avLst/>
          </a:prstGeom>
        </p:spPr>
        <p:txBody>
          <a:bodyPr/>
          <a:lstStyle>
            <a:lvl1pPr algn="l" rtl="0">
              <a:defRPr sz="1600" b="1">
                <a:solidFill>
                  <a:schemeClr val="bg1"/>
                </a:solidFill>
                <a:latin typeface="Open Sans Medium"/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D394039-6820-5F1D-5EB6-0109F75ED216}"/>
              </a:ext>
            </a:extLst>
          </p:cNvPr>
          <p:cNvGrpSpPr/>
          <p:nvPr userDrawn="1"/>
        </p:nvGrpSpPr>
        <p:grpSpPr>
          <a:xfrm>
            <a:off x="5485092" y="6310138"/>
            <a:ext cx="1224048" cy="374572"/>
            <a:chOff x="9937040" y="758063"/>
            <a:chExt cx="1639030" cy="501561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4748F3E6-C7B4-E07A-0262-204A21013A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937040" y="758063"/>
              <a:ext cx="1639030" cy="501561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097463D1-927D-C4F0-212D-A0DDEFBC507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l="24684"/>
            <a:stretch/>
          </p:blipFill>
          <p:spPr>
            <a:xfrm>
              <a:off x="10341620" y="758063"/>
              <a:ext cx="1234449" cy="5015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89249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D21A3C7-7A84-CC38-876B-97E3FBCFB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769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phic 14">
            <a:extLst>
              <a:ext uri="{FF2B5EF4-FFF2-40B4-BE49-F238E27FC236}">
                <a16:creationId xmlns:a16="http://schemas.microsoft.com/office/drawing/2014/main" id="{6C10A741-3D61-49CF-A5B6-9FC67C402C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50000" b="49791"/>
          <a:stretch/>
        </p:blipFill>
        <p:spPr>
          <a:xfrm>
            <a:off x="0" y="5476874"/>
            <a:ext cx="1375360" cy="1381126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18AA04F-99C9-48A0-AD83-9E8538386C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6121" y="3155761"/>
            <a:ext cx="4479758" cy="546478"/>
          </a:xfrm>
          <a:prstGeom prst="rect">
            <a:avLst/>
          </a:prstGeom>
        </p:spPr>
        <p:txBody>
          <a:bodyPr vert="horz"/>
          <a:lstStyle>
            <a:lvl1pPr algn="ctr" rtl="0">
              <a:defRPr/>
            </a:lvl1pPr>
          </a:lstStyle>
          <a:p>
            <a:r>
              <a:rPr lang="en-GB" dirty="0"/>
              <a:t>Click to edit Thank You messag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9044A42-50AA-4125-8E63-559CCB03ACA1}"/>
              </a:ext>
            </a:extLst>
          </p:cNvPr>
          <p:cNvGrpSpPr/>
          <p:nvPr userDrawn="1"/>
        </p:nvGrpSpPr>
        <p:grpSpPr>
          <a:xfrm>
            <a:off x="5276485" y="758063"/>
            <a:ext cx="1639030" cy="501561"/>
            <a:chOff x="9937040" y="758063"/>
            <a:chExt cx="1639030" cy="501561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6F69EE71-B55D-452B-89BA-036A82B1FE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937040" y="758063"/>
              <a:ext cx="1639030" cy="501561"/>
            </a:xfrm>
            <a:prstGeom prst="rect">
              <a:avLst/>
            </a:prstGeom>
          </p:spPr>
        </p:pic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32F2A3BD-CD3F-4F7F-A195-728080DE5BB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l="24684"/>
            <a:stretch/>
          </p:blipFill>
          <p:spPr>
            <a:xfrm>
              <a:off x="10341620" y="758063"/>
              <a:ext cx="1234449" cy="501561"/>
            </a:xfrm>
            <a:prstGeom prst="rect">
              <a:avLst/>
            </a:prstGeom>
          </p:spPr>
        </p:pic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2DA2EEB9-27F2-4AD9-A353-D9F57787BD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t="50000"/>
          <a:stretch/>
        </p:blipFill>
        <p:spPr>
          <a:xfrm>
            <a:off x="1375360" y="0"/>
            <a:ext cx="1236299" cy="61814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2CB625F4-AA87-4DDE-829F-E7BB3EBB19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t="34688" r="34936"/>
          <a:stretch/>
        </p:blipFill>
        <p:spPr>
          <a:xfrm>
            <a:off x="10189028" y="0"/>
            <a:ext cx="2002971" cy="201059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DE3049A-B059-457D-8BA1-8E924478BFD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0993" y="6219193"/>
            <a:ext cx="1910014" cy="400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4926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CDC128-4352-ADFA-6A80-5A9E7553D9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285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38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27381" y="6480000"/>
            <a:ext cx="7440000" cy="180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21D0C53-F489-2644-B271-69238D514B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0688677-ACFB-1546-BB66-A96C0E4742F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DF8D9D5-A59E-EA4F-BBDB-BA05293D3F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19201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9980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E4F1357-35EC-9EDD-2CED-36C0CB16F6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376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3760857-D4A4-4EE9-990E-22B4B681D3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Klik om stijl te bewerken</a:t>
            </a:r>
            <a:endParaRPr lang="en-GB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FC1DC57F-E0FA-4270-9183-6396E15248D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Klikken om de tekststijl van het model te bewerken</a:t>
            </a:r>
          </a:p>
          <a:p>
            <a:pPr lvl="1"/>
            <a:r>
              <a:rPr lang="en-GB"/>
              <a:t>Tweede niveau</a:t>
            </a:r>
          </a:p>
          <a:p>
            <a:pPr lvl="2"/>
            <a:r>
              <a:rPr lang="en-GB"/>
              <a:t>Derde niveau</a:t>
            </a:r>
          </a:p>
          <a:p>
            <a:pPr lvl="3"/>
            <a:r>
              <a:rPr lang="en-GB"/>
              <a:t>Vierde niveau</a:t>
            </a:r>
          </a:p>
          <a:p>
            <a:pPr lvl="4"/>
            <a:r>
              <a:rPr lang="en-GB"/>
              <a:t>Vijfde niveau</a:t>
            </a:r>
            <a:endParaRPr lang="en-GB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1E2AB32-E378-405A-BA28-48C8B8063A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D47FA97-733D-4587-9F95-CD92DA195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6446695-79ED-45A7-A58B-D8FB9B554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4B13C7C-280E-4B26-AFA0-EE929900AC3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01251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734ABFB-87BB-8F4F-0ED7-61F8E3A809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8768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38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27381" y="6480000"/>
            <a:ext cx="7440000" cy="180000"/>
          </a:xfrm>
        </p:spPr>
        <p:txBody>
          <a:bodyPr/>
          <a:lstStyle>
            <a:lvl1pPr rtl="0">
              <a:defRPr/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21D0C53-F489-2644-B271-69238D514B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0688677-ACFB-1546-BB66-A96C0E4742F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DF8D9D5-A59E-EA4F-BBDB-BA05293D3F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192011" y="1488000"/>
            <a:ext cx="5472000" cy="4749312"/>
          </a:xfrm>
        </p:spPr>
        <p:txBody>
          <a:bodyPr/>
          <a:lstStyle>
            <a:lvl1pPr rtl="0">
              <a:defRPr sz="2667" b="1">
                <a:solidFill>
                  <a:schemeClr val="tx1"/>
                </a:solidFill>
              </a:defRPr>
            </a:lvl1pPr>
            <a:lvl2pPr marL="0" indent="0" algn="l" rtl="0">
              <a:buClr>
                <a:srgbClr val="5AAD41"/>
              </a:buClr>
              <a:buFontTx/>
              <a:buNone/>
              <a:defRPr sz="2400" b="0" cap="all" baseline="0">
                <a:solidFill>
                  <a:srgbClr val="5AAD41"/>
                </a:solidFill>
              </a:defRPr>
            </a:lvl2pPr>
            <a:lvl3pPr marL="0" indent="0" algn="l" rtl="0">
              <a:buClr>
                <a:srgbClr val="5AAD41"/>
              </a:buClr>
              <a:buFontTx/>
              <a:buNone/>
              <a:defRPr sz="2400" b="0" cap="none" baseline="0">
                <a:solidFill>
                  <a:schemeClr val="tx1"/>
                </a:solidFill>
              </a:defRPr>
            </a:lvl3pPr>
            <a:lvl4pPr marL="959952" indent="-380982" algn="l" rtl="0">
              <a:spcBef>
                <a:spcPts val="267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4pPr>
            <a:lvl5pPr marL="1919904" indent="-380982" algn="l" rtl="0">
              <a:spcBef>
                <a:spcPts val="533"/>
              </a:spcBef>
              <a:buClr>
                <a:srgbClr val="5AAD41"/>
              </a:buClr>
              <a:buFont typeface="Arial" panose="020B0604020202020204" pitchFamily="34" charset="0"/>
              <a:buChar char="•"/>
              <a:defRPr sz="2133" b="0" cap="none" baseline="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9980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8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17.pn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tags" Target="../tags/tag25.xml"/><Relationship Id="rId1" Type="http://schemas.openxmlformats.org/officeDocument/2006/relationships/theme" Target="../theme/theme11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8.pn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17.pn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8.png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17.pn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8.pn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17.png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8.png"/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17.png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8.png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17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8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7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8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7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8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17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8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17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8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7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8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9FA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643B6C7-2076-C823-2A0F-0CAF7EB1D6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79834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0B6FD1F-329F-43E8-A4FA-C6DA9160F02A}"/>
              </a:ext>
            </a:extLst>
          </p:cNvPr>
          <p:cNvSpPr txBox="1">
            <a:spLocks/>
          </p:cNvSpPr>
          <p:nvPr userDrawn="1"/>
        </p:nvSpPr>
        <p:spPr>
          <a:xfrm>
            <a:off x="8931442" y="630020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b="0" kern="1200" spc="150" baseline="0">
                <a:solidFill>
                  <a:schemeClr val="bg2">
                    <a:lumMod val="50000"/>
                  </a:schemeClr>
                </a:solidFill>
                <a:latin typeface="Univers Light" panose="020B0403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65601-5AE2-46FC-B138-694DDD2B510D}" type="slidenum">
              <a:rPr kumimoji="0" lang="en-GB" sz="1200" b="1" i="0" u="none" strike="noStrike" kern="1200" cap="none" spc="150" normalizeH="0" baseline="0" noProof="0" smtClean="0">
                <a:ln>
                  <a:noFill/>
                </a:ln>
                <a:solidFill>
                  <a:srgbClr val="02304C"/>
                </a:solidFill>
                <a:effectLst/>
                <a:uLnTx/>
                <a:uFillTx/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1" i="0" u="none" strike="noStrike" kern="1200" cap="none" spc="150" normalizeH="0" baseline="0" noProof="0" dirty="0">
              <a:ln>
                <a:noFill/>
              </a:ln>
              <a:solidFill>
                <a:srgbClr val="02304C"/>
              </a:solidFill>
              <a:effectLst/>
              <a:uLnTx/>
              <a:uFillTx/>
              <a:latin typeface="Open Sans SemiBold" pitchFamily="2" charset="0"/>
              <a:ea typeface="Open Sans SemiBold" pitchFamily="2" charset="0"/>
              <a:cs typeface="Open Sans SemiBold" pitchFamily="2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0AF47D9-3684-4D8B-A868-ED3401AA363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92991" y="6491024"/>
            <a:ext cx="499010" cy="0"/>
          </a:xfrm>
          <a:prstGeom prst="line">
            <a:avLst/>
          </a:prstGeom>
          <a:ln w="19050">
            <a:solidFill>
              <a:srgbClr val="65B3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A49B757-3AD5-F823-8401-AC7AF9B2C020}"/>
              </a:ext>
            </a:extLst>
          </p:cNvPr>
          <p:cNvCxnSpPr>
            <a:cxnSpLocks/>
          </p:cNvCxnSpPr>
          <p:nvPr userDrawn="1"/>
        </p:nvCxnSpPr>
        <p:spPr>
          <a:xfrm>
            <a:off x="396815" y="6487342"/>
            <a:ext cx="2681264" cy="0"/>
          </a:xfrm>
          <a:prstGeom prst="line">
            <a:avLst/>
          </a:prstGeom>
          <a:ln w="19050">
            <a:solidFill>
              <a:srgbClr val="65B3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168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  <p:sldLayoutId id="2147483670" r:id="rId3"/>
    <p:sldLayoutId id="2147483691" r:id="rId4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Open Sans Medium" pitchFamily="2" charset="0"/>
          <a:ea typeface="Open Sans Medium" pitchFamily="2" charset="0"/>
          <a:cs typeface="Open Sans Medium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5E6805-9B12-6E25-FCD9-72922F3F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91827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5E6805-9B12-6E25-FCD9-72922F3F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0"/>
            <a:ext cx="9840469" cy="1344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2" y="1488000"/>
            <a:ext cx="11137237" cy="4728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Fklwdhfjks</a:t>
            </a:r>
          </a:p>
          <a:p>
            <a:pPr lvl="0"/>
            <a:endParaRPr lang="en-GB"/>
          </a:p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1" y="6480000"/>
            <a:ext cx="79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333" cap="all" baseline="0">
                <a:solidFill>
                  <a:srgbClr val="5AAD41"/>
                </a:solidFill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927711D-917F-753F-5325-655C9306AC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1034153"/>
            <a:ext cx="1353955" cy="322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</p:sldLayoutIdLst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0" i="0" kern="1200" cap="none" baseline="0">
          <a:solidFill>
            <a:schemeClr val="tx1"/>
          </a:solidFill>
          <a:latin typeface="Corbel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2000" b="1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r" defTabSz="914377" rtl="0" eaLnBrk="1" latinLnBrk="0" hangingPunct="1">
        <a:spcBef>
          <a:spcPct val="20000"/>
        </a:spcBef>
        <a:buFontTx/>
        <a:buNone/>
        <a:defRPr sz="28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2pPr>
      <a:lvl3pPr marL="914377" indent="0" algn="r" defTabSz="914377" rtl="0" eaLnBrk="1" latinLnBrk="0" hangingPunct="1">
        <a:spcBef>
          <a:spcPct val="20000"/>
        </a:spcBef>
        <a:buFontTx/>
        <a:buNone/>
        <a:defRPr sz="24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3pPr>
      <a:lvl4pPr marL="1371566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4pPr>
      <a:lvl5pPr marL="1828754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5E6805-9B12-6E25-FCD9-72922F3F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7959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5E6805-9B12-6E25-FCD9-72922F3F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0"/>
            <a:ext cx="9840469" cy="1344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2" y="1488000"/>
            <a:ext cx="11137237" cy="4728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Fklwdhfjks</a:t>
            </a:r>
          </a:p>
          <a:p>
            <a:pPr lvl="0"/>
            <a:endParaRPr lang="en-GB"/>
          </a:p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1" y="6480000"/>
            <a:ext cx="79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333" cap="all" baseline="0">
                <a:solidFill>
                  <a:srgbClr val="5AAD41"/>
                </a:solidFill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927711D-917F-753F-5325-655C9306AC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1034153"/>
            <a:ext cx="1353955" cy="322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3585"/>
      </p:ext>
    </p:extLst>
  </p:cSld>
  <p:clrMap bg1="lt1" tx1="dk1" bg2="lt2" tx2="dk2" accent1="accent1" accent2="accent2" accent3="accent3" accent4="accent4" accent5="accent5" accent6="accent6" hlink="hlink" folHlink="folHlink"/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0" i="0" kern="1200" cap="none" baseline="0">
          <a:solidFill>
            <a:schemeClr val="tx1"/>
          </a:solidFill>
          <a:latin typeface="Corbel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2000" b="1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r" defTabSz="914377" rtl="0" eaLnBrk="1" latinLnBrk="0" hangingPunct="1">
        <a:spcBef>
          <a:spcPct val="20000"/>
        </a:spcBef>
        <a:buFontTx/>
        <a:buNone/>
        <a:defRPr sz="28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2pPr>
      <a:lvl3pPr marL="914377" indent="0" algn="r" defTabSz="914377" rtl="0" eaLnBrk="1" latinLnBrk="0" hangingPunct="1">
        <a:spcBef>
          <a:spcPct val="20000"/>
        </a:spcBef>
        <a:buFontTx/>
        <a:buNone/>
        <a:defRPr sz="24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3pPr>
      <a:lvl4pPr marL="1371566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4pPr>
      <a:lvl5pPr marL="1828754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5E6805-9B12-6E25-FCD9-72922F3F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4760776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5E6805-9B12-6E25-FCD9-72922F3F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0"/>
            <a:ext cx="9840469" cy="1344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2" y="1488000"/>
            <a:ext cx="11137237" cy="4728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Fklwdhfjks</a:t>
            </a:r>
          </a:p>
          <a:p>
            <a:pPr lvl="0"/>
            <a:endParaRPr lang="en-GB"/>
          </a:p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1" y="6480000"/>
            <a:ext cx="79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333" cap="all" baseline="0">
                <a:solidFill>
                  <a:srgbClr val="5AAD41"/>
                </a:solidFill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927711D-917F-753F-5325-655C9306AC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1034153"/>
            <a:ext cx="1353955" cy="322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</p:sldLayoutIdLst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0" i="0" kern="1200" cap="none" baseline="0">
          <a:solidFill>
            <a:schemeClr val="tx1"/>
          </a:solidFill>
          <a:latin typeface="Corbel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2000" b="1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r" defTabSz="914377" rtl="0" eaLnBrk="1" latinLnBrk="0" hangingPunct="1">
        <a:spcBef>
          <a:spcPct val="20000"/>
        </a:spcBef>
        <a:buFontTx/>
        <a:buNone/>
        <a:defRPr sz="28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2pPr>
      <a:lvl3pPr marL="914377" indent="0" algn="r" defTabSz="914377" rtl="0" eaLnBrk="1" latinLnBrk="0" hangingPunct="1">
        <a:spcBef>
          <a:spcPct val="20000"/>
        </a:spcBef>
        <a:buFontTx/>
        <a:buNone/>
        <a:defRPr sz="24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3pPr>
      <a:lvl4pPr marL="1371566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4pPr>
      <a:lvl5pPr marL="1828754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5E6805-9B12-6E25-FCD9-72922F3F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2361971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5E6805-9B12-6E25-FCD9-72922F3F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0"/>
            <a:ext cx="9840469" cy="1344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2" y="1488000"/>
            <a:ext cx="11137237" cy="4728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Fklwdhfjks</a:t>
            </a:r>
          </a:p>
          <a:p>
            <a:pPr lvl="0"/>
            <a:endParaRPr lang="en-GB"/>
          </a:p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1" y="6480000"/>
            <a:ext cx="79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333" cap="all" baseline="0">
                <a:solidFill>
                  <a:srgbClr val="5AAD41"/>
                </a:solidFill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927711D-917F-753F-5325-655C9306AC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1034153"/>
            <a:ext cx="1353955" cy="322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</p:sldLayoutIdLst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0" i="0" kern="1200" cap="none" baseline="0">
          <a:solidFill>
            <a:schemeClr val="tx1"/>
          </a:solidFill>
          <a:latin typeface="Corbel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2000" b="1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r" defTabSz="914377" rtl="0" eaLnBrk="1" latinLnBrk="0" hangingPunct="1">
        <a:spcBef>
          <a:spcPct val="20000"/>
        </a:spcBef>
        <a:buFontTx/>
        <a:buNone/>
        <a:defRPr sz="28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2pPr>
      <a:lvl3pPr marL="914377" indent="0" algn="r" defTabSz="914377" rtl="0" eaLnBrk="1" latinLnBrk="0" hangingPunct="1">
        <a:spcBef>
          <a:spcPct val="20000"/>
        </a:spcBef>
        <a:buFontTx/>
        <a:buNone/>
        <a:defRPr sz="24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3pPr>
      <a:lvl4pPr marL="1371566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4pPr>
      <a:lvl5pPr marL="1828754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5E6805-9B12-6E25-FCD9-72922F3F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3861208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5E6805-9B12-6E25-FCD9-72922F3F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0"/>
            <a:ext cx="9840469" cy="1344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2" y="1488000"/>
            <a:ext cx="11137237" cy="4728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Fklwdhfjks</a:t>
            </a:r>
          </a:p>
          <a:p>
            <a:pPr lvl="0"/>
            <a:endParaRPr lang="en-GB"/>
          </a:p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1" y="6480000"/>
            <a:ext cx="79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333" cap="all" baseline="0">
                <a:solidFill>
                  <a:srgbClr val="5AAD41"/>
                </a:solidFill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927711D-917F-753F-5325-655C9306AC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1034153"/>
            <a:ext cx="1353955" cy="322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</p:sldLayoutIdLst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0" i="0" kern="1200" cap="none" baseline="0">
          <a:solidFill>
            <a:schemeClr val="tx1"/>
          </a:solidFill>
          <a:latin typeface="Corbel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2000" b="1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r" defTabSz="914377" rtl="0" eaLnBrk="1" latinLnBrk="0" hangingPunct="1">
        <a:spcBef>
          <a:spcPct val="20000"/>
        </a:spcBef>
        <a:buFontTx/>
        <a:buNone/>
        <a:defRPr sz="28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2pPr>
      <a:lvl3pPr marL="914377" indent="0" algn="r" defTabSz="914377" rtl="0" eaLnBrk="1" latinLnBrk="0" hangingPunct="1">
        <a:spcBef>
          <a:spcPct val="20000"/>
        </a:spcBef>
        <a:buFontTx/>
        <a:buNone/>
        <a:defRPr sz="24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3pPr>
      <a:lvl4pPr marL="1371566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4pPr>
      <a:lvl5pPr marL="1828754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5E6805-9B12-6E25-FCD9-72922F3F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5713939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5E6805-9B12-6E25-FCD9-72922F3F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0"/>
            <a:ext cx="9840469" cy="1344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2" y="1488000"/>
            <a:ext cx="11137237" cy="4728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Fklwdhfjks</a:t>
            </a:r>
          </a:p>
          <a:p>
            <a:pPr lvl="0"/>
            <a:endParaRPr lang="en-GB"/>
          </a:p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1" y="6480000"/>
            <a:ext cx="79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333" cap="all" baseline="0">
                <a:solidFill>
                  <a:srgbClr val="5AAD41"/>
                </a:solidFill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927711D-917F-753F-5325-655C9306AC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1034153"/>
            <a:ext cx="1353955" cy="322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</p:sldLayoutIdLst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0" i="0" kern="1200" cap="none" baseline="0">
          <a:solidFill>
            <a:schemeClr val="tx1"/>
          </a:solidFill>
          <a:latin typeface="Corbel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2000" b="1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r" defTabSz="914377" rtl="0" eaLnBrk="1" latinLnBrk="0" hangingPunct="1">
        <a:spcBef>
          <a:spcPct val="20000"/>
        </a:spcBef>
        <a:buFontTx/>
        <a:buNone/>
        <a:defRPr sz="28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2pPr>
      <a:lvl3pPr marL="914377" indent="0" algn="r" defTabSz="914377" rtl="0" eaLnBrk="1" latinLnBrk="0" hangingPunct="1">
        <a:spcBef>
          <a:spcPct val="20000"/>
        </a:spcBef>
        <a:buFontTx/>
        <a:buNone/>
        <a:defRPr sz="24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3pPr>
      <a:lvl4pPr marL="1371566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4pPr>
      <a:lvl5pPr marL="1828754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5E6805-9B12-6E25-FCD9-72922F3F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0328341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5E6805-9B12-6E25-FCD9-72922F3F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0"/>
            <a:ext cx="9840469" cy="1344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2" y="1488000"/>
            <a:ext cx="11137237" cy="4728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Fklwdhfjks</a:t>
            </a:r>
          </a:p>
          <a:p>
            <a:pPr lvl="0"/>
            <a:endParaRPr lang="en-GB"/>
          </a:p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1" y="6480000"/>
            <a:ext cx="79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333" cap="all" baseline="0">
                <a:solidFill>
                  <a:srgbClr val="5AAD41"/>
                </a:solidFill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927711D-917F-753F-5325-655C9306AC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1034153"/>
            <a:ext cx="1353955" cy="322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</p:sldLayoutIdLst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0" i="0" kern="1200" cap="none" baseline="0">
          <a:solidFill>
            <a:schemeClr val="tx1"/>
          </a:solidFill>
          <a:latin typeface="Corbel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2000" b="1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r" defTabSz="914377" rtl="0" eaLnBrk="1" latinLnBrk="0" hangingPunct="1">
        <a:spcBef>
          <a:spcPct val="20000"/>
        </a:spcBef>
        <a:buFontTx/>
        <a:buNone/>
        <a:defRPr sz="28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2pPr>
      <a:lvl3pPr marL="914377" indent="0" algn="r" defTabSz="914377" rtl="0" eaLnBrk="1" latinLnBrk="0" hangingPunct="1">
        <a:spcBef>
          <a:spcPct val="20000"/>
        </a:spcBef>
        <a:buFontTx/>
        <a:buNone/>
        <a:defRPr sz="24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3pPr>
      <a:lvl4pPr marL="1371566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4pPr>
      <a:lvl5pPr marL="1828754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230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0DA34C-807F-E9C3-8E79-F4E03B8826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96001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3FAEAE-7C10-4C00-B8FD-623A0B6EF8AC}"/>
              </a:ext>
            </a:extLst>
          </p:cNvPr>
          <p:cNvSpPr txBox="1">
            <a:spLocks/>
          </p:cNvSpPr>
          <p:nvPr userDrawn="1"/>
        </p:nvSpPr>
        <p:spPr>
          <a:xfrm>
            <a:off x="8931442" y="630020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b="0" kern="1200" spc="150" baseline="0">
                <a:solidFill>
                  <a:schemeClr val="bg2">
                    <a:lumMod val="50000"/>
                  </a:schemeClr>
                </a:solidFill>
                <a:latin typeface="Univers Light" panose="020B0403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D65601-5AE2-46FC-B138-694DDD2B510D}" type="slidenum">
              <a:rPr kumimoji="0" lang="en-GB" sz="1200" b="0" i="0" u="none" strike="noStrike" kern="1200" cap="none" spc="15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 SemiBold" pitchFamily="2" charset="0"/>
                <a:ea typeface="Open Sans SemiBold" pitchFamily="2" charset="0"/>
                <a:cs typeface="Open Sans SemiBold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15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SemiBold" pitchFamily="2" charset="0"/>
              <a:ea typeface="Open Sans SemiBold" pitchFamily="2" charset="0"/>
              <a:cs typeface="Open Sans SemiBold" pitchFamily="2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989D59C-0E0A-4163-BDF0-1A446C50424C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92991" y="6491024"/>
            <a:ext cx="49901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D471207F-32CD-E0ED-F578-CAD490C3D332}"/>
              </a:ext>
            </a:extLst>
          </p:cNvPr>
          <p:cNvCxnSpPr>
            <a:cxnSpLocks/>
          </p:cNvCxnSpPr>
          <p:nvPr userDrawn="1"/>
        </p:nvCxnSpPr>
        <p:spPr>
          <a:xfrm>
            <a:off x="396815" y="6487342"/>
            <a:ext cx="2681264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1921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bg1"/>
          </a:solidFill>
          <a:latin typeface="Open Sans SemiBold" pitchFamily="2" charset="0"/>
          <a:ea typeface="Open Sans SemiBold" pitchFamily="2" charset="0"/>
          <a:cs typeface="Open Sans SemiBold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230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443C34-D24F-AC61-FEEF-6EF649098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30829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6854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bg1"/>
          </a:solidFill>
          <a:latin typeface="Open Sans SemiBold" pitchFamily="2" charset="0"/>
          <a:ea typeface="Open Sans SemiBold" pitchFamily="2" charset="0"/>
          <a:cs typeface="Open Sans SemiBold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5E6805-9B12-6E25-FCD9-72922F3F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2664387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5E6805-9B12-6E25-FCD9-72922F3F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0"/>
            <a:ext cx="9840469" cy="1344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2" y="1488000"/>
            <a:ext cx="11137237" cy="4728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Fklwdhfjks</a:t>
            </a:r>
          </a:p>
          <a:p>
            <a:pPr lvl="0"/>
            <a:endParaRPr lang="en-GB"/>
          </a:p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1" y="6480000"/>
            <a:ext cx="79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333" cap="all" baseline="0">
                <a:solidFill>
                  <a:srgbClr val="5AAD41"/>
                </a:solidFill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927711D-917F-753F-5325-655C9306AC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1034153"/>
            <a:ext cx="1353955" cy="322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</p:sldLayoutIdLst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0" i="0" kern="1200" cap="none" baseline="0">
          <a:solidFill>
            <a:schemeClr val="tx1"/>
          </a:solidFill>
          <a:latin typeface="Corbel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2000" b="1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r" defTabSz="914377" rtl="0" eaLnBrk="1" latinLnBrk="0" hangingPunct="1">
        <a:spcBef>
          <a:spcPct val="20000"/>
        </a:spcBef>
        <a:buFontTx/>
        <a:buNone/>
        <a:defRPr sz="28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2pPr>
      <a:lvl3pPr marL="914377" indent="0" algn="r" defTabSz="914377" rtl="0" eaLnBrk="1" latinLnBrk="0" hangingPunct="1">
        <a:spcBef>
          <a:spcPct val="20000"/>
        </a:spcBef>
        <a:buFontTx/>
        <a:buNone/>
        <a:defRPr sz="24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3pPr>
      <a:lvl4pPr marL="1371566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4pPr>
      <a:lvl5pPr marL="1828754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5E6805-9B12-6E25-FCD9-72922F3F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841674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5E6805-9B12-6E25-FCD9-72922F3F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0"/>
            <a:ext cx="9840469" cy="1344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2" y="1488000"/>
            <a:ext cx="11137237" cy="4728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Fklwdhfjks</a:t>
            </a:r>
          </a:p>
          <a:p>
            <a:pPr lvl="0"/>
            <a:endParaRPr lang="en-GB"/>
          </a:p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1" y="6480000"/>
            <a:ext cx="79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333" cap="all" baseline="0">
                <a:solidFill>
                  <a:srgbClr val="5AAD41"/>
                </a:solidFill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927711D-917F-753F-5325-655C9306AC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1034153"/>
            <a:ext cx="1353955" cy="322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</p:sldLayoutIdLst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0" i="0" kern="1200" cap="none" baseline="0">
          <a:solidFill>
            <a:schemeClr val="tx1"/>
          </a:solidFill>
          <a:latin typeface="Corbel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2000" b="1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r" defTabSz="914377" rtl="0" eaLnBrk="1" latinLnBrk="0" hangingPunct="1">
        <a:spcBef>
          <a:spcPct val="20000"/>
        </a:spcBef>
        <a:buFontTx/>
        <a:buNone/>
        <a:defRPr sz="28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2pPr>
      <a:lvl3pPr marL="914377" indent="0" algn="r" defTabSz="914377" rtl="0" eaLnBrk="1" latinLnBrk="0" hangingPunct="1">
        <a:spcBef>
          <a:spcPct val="20000"/>
        </a:spcBef>
        <a:buFontTx/>
        <a:buNone/>
        <a:defRPr sz="24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3pPr>
      <a:lvl4pPr marL="1371566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4pPr>
      <a:lvl5pPr marL="1828754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5E6805-9B12-6E25-FCD9-72922F3F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457231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5E6805-9B12-6E25-FCD9-72922F3F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0"/>
            <a:ext cx="9840469" cy="1344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2" y="1488000"/>
            <a:ext cx="11137237" cy="4728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Fklwdhfjks</a:t>
            </a:r>
          </a:p>
          <a:p>
            <a:pPr lvl="0"/>
            <a:endParaRPr lang="en-GB"/>
          </a:p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1" y="6480000"/>
            <a:ext cx="79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333" cap="all" baseline="0">
                <a:solidFill>
                  <a:srgbClr val="5AAD41"/>
                </a:solidFill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927711D-917F-753F-5325-655C9306AC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1034153"/>
            <a:ext cx="1353955" cy="322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</p:sldLayoutIdLst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0" i="0" kern="1200" cap="none" baseline="0">
          <a:solidFill>
            <a:schemeClr val="tx1"/>
          </a:solidFill>
          <a:latin typeface="Corbel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2000" b="1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r" defTabSz="914377" rtl="0" eaLnBrk="1" latinLnBrk="0" hangingPunct="1">
        <a:spcBef>
          <a:spcPct val="20000"/>
        </a:spcBef>
        <a:buFontTx/>
        <a:buNone/>
        <a:defRPr sz="28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2pPr>
      <a:lvl3pPr marL="914377" indent="0" algn="r" defTabSz="914377" rtl="0" eaLnBrk="1" latinLnBrk="0" hangingPunct="1">
        <a:spcBef>
          <a:spcPct val="20000"/>
        </a:spcBef>
        <a:buFontTx/>
        <a:buNone/>
        <a:defRPr sz="24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3pPr>
      <a:lvl4pPr marL="1371566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4pPr>
      <a:lvl5pPr marL="1828754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5E6805-9B12-6E25-FCD9-72922F3F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1562545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5E6805-9B12-6E25-FCD9-72922F3F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0"/>
            <a:ext cx="9840469" cy="1344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2" y="1488000"/>
            <a:ext cx="11137237" cy="4728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Fklwdhfjks</a:t>
            </a:r>
          </a:p>
          <a:p>
            <a:pPr lvl="0"/>
            <a:endParaRPr lang="en-GB"/>
          </a:p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1" y="6480000"/>
            <a:ext cx="79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333" cap="all" baseline="0">
                <a:solidFill>
                  <a:srgbClr val="5AAD41"/>
                </a:solidFill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927711D-917F-753F-5325-655C9306AC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1034153"/>
            <a:ext cx="1353955" cy="322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</p:sldLayoutIdLst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0" i="0" kern="1200" cap="none" baseline="0">
          <a:solidFill>
            <a:schemeClr val="tx1"/>
          </a:solidFill>
          <a:latin typeface="Corbel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2000" b="1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r" defTabSz="914377" rtl="0" eaLnBrk="1" latinLnBrk="0" hangingPunct="1">
        <a:spcBef>
          <a:spcPct val="20000"/>
        </a:spcBef>
        <a:buFontTx/>
        <a:buNone/>
        <a:defRPr sz="28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2pPr>
      <a:lvl3pPr marL="914377" indent="0" algn="r" defTabSz="914377" rtl="0" eaLnBrk="1" latinLnBrk="0" hangingPunct="1">
        <a:spcBef>
          <a:spcPct val="20000"/>
        </a:spcBef>
        <a:buFontTx/>
        <a:buNone/>
        <a:defRPr sz="24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3pPr>
      <a:lvl4pPr marL="1371566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4pPr>
      <a:lvl5pPr marL="1828754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5E6805-9B12-6E25-FCD9-72922F3F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838000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5E6805-9B12-6E25-FCD9-72922F3F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0"/>
            <a:ext cx="9840469" cy="1344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2" y="1488000"/>
            <a:ext cx="11137237" cy="4728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Fklwdhfjks</a:t>
            </a:r>
          </a:p>
          <a:p>
            <a:pPr lvl="0"/>
            <a:endParaRPr lang="en-GB"/>
          </a:p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1" y="6480000"/>
            <a:ext cx="79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333" cap="all" baseline="0">
                <a:solidFill>
                  <a:srgbClr val="5AAD41"/>
                </a:solidFill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927711D-917F-753F-5325-655C9306AC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1034153"/>
            <a:ext cx="1353955" cy="322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</p:sldLayoutIdLst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0" i="0" kern="1200" cap="none" baseline="0">
          <a:solidFill>
            <a:schemeClr val="tx1"/>
          </a:solidFill>
          <a:latin typeface="Corbel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2000" b="1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r" defTabSz="914377" rtl="0" eaLnBrk="1" latinLnBrk="0" hangingPunct="1">
        <a:spcBef>
          <a:spcPct val="20000"/>
        </a:spcBef>
        <a:buFontTx/>
        <a:buNone/>
        <a:defRPr sz="28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2pPr>
      <a:lvl3pPr marL="914377" indent="0" algn="r" defTabSz="914377" rtl="0" eaLnBrk="1" latinLnBrk="0" hangingPunct="1">
        <a:spcBef>
          <a:spcPct val="20000"/>
        </a:spcBef>
        <a:buFontTx/>
        <a:buNone/>
        <a:defRPr sz="24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3pPr>
      <a:lvl4pPr marL="1371566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4pPr>
      <a:lvl5pPr marL="1828754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45E6805-9B12-6E25-FCD9-72922F3F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8587342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45E6805-9B12-6E25-FCD9-72922F3F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8000" y="0"/>
            <a:ext cx="9840469" cy="1344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382" y="1488000"/>
            <a:ext cx="11137237" cy="4728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0"/>
            <a:r>
              <a:rPr lang="en-GB"/>
              <a:t>Fklwdhfjks</a:t>
            </a:r>
          </a:p>
          <a:p>
            <a:pPr lvl="0"/>
            <a:endParaRPr lang="en-GB"/>
          </a:p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36000" y="6480000"/>
            <a:ext cx="24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7381" y="6480000"/>
            <a:ext cx="792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333" cap="all" baseline="0">
                <a:solidFill>
                  <a:srgbClr val="5AAD41"/>
                </a:solidFill>
              </a:defRPr>
            </a:lvl1pPr>
          </a:lstStyle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84566" y="6480000"/>
            <a:ext cx="4800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333" b="0">
                <a:solidFill>
                  <a:schemeClr val="tx1"/>
                </a:solidFill>
              </a:defRPr>
            </a:lvl1pPr>
          </a:lstStyle>
          <a:p>
            <a:fld id="{7087284C-CBB2-4EB5-B969-A1988E2F2A4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927711D-917F-753F-5325-655C9306AC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1034153"/>
            <a:ext cx="1353955" cy="322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17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</p:sldLayoutIdLst>
  <p:hf sldNum="0" hdr="0"/>
  <p:txStyles>
    <p:titleStyle>
      <a:lvl1pPr algn="l" defTabSz="914377" rtl="0" eaLnBrk="1" latinLnBrk="0" hangingPunct="1">
        <a:spcBef>
          <a:spcPct val="0"/>
        </a:spcBef>
        <a:buNone/>
        <a:defRPr sz="2400" b="0" i="0" kern="1200" cap="none" baseline="0">
          <a:solidFill>
            <a:schemeClr val="tx1"/>
          </a:solidFill>
          <a:latin typeface="Corbel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2000" b="1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r" defTabSz="914377" rtl="0" eaLnBrk="1" latinLnBrk="0" hangingPunct="1">
        <a:spcBef>
          <a:spcPct val="20000"/>
        </a:spcBef>
        <a:buFontTx/>
        <a:buNone/>
        <a:defRPr sz="28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2pPr>
      <a:lvl3pPr marL="914377" indent="0" algn="r" defTabSz="914377" rtl="0" eaLnBrk="1" latinLnBrk="0" hangingPunct="1">
        <a:spcBef>
          <a:spcPct val="20000"/>
        </a:spcBef>
        <a:buFontTx/>
        <a:buNone/>
        <a:defRPr sz="24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3pPr>
      <a:lvl4pPr marL="1371566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4pPr>
      <a:lvl5pPr marL="1828754" indent="0" algn="r" defTabSz="914377" rtl="0" eaLnBrk="1" latinLnBrk="0" hangingPunct="1">
        <a:spcBef>
          <a:spcPct val="20000"/>
        </a:spcBef>
        <a:buFontTx/>
        <a:buNone/>
        <a:defRPr sz="2000" kern="1200" cap="all" baseline="0">
          <a:solidFill>
            <a:srgbClr val="939598"/>
          </a:solidFill>
          <a:latin typeface="Corbel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.xml"/><Relationship Id="rId6" Type="http://schemas.openxmlformats.org/officeDocument/2006/relationships/image" Target="../media/image20.jpe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6" Type="http://schemas.openxmlformats.org/officeDocument/2006/relationships/image" Target="../media/image23.pn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oleObject" Target="../embeddings/oleObject3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6" Type="http://schemas.openxmlformats.org/officeDocument/2006/relationships/image" Target="../media/image23.png"/><Relationship Id="rId5" Type="http://schemas.openxmlformats.org/officeDocument/2006/relationships/image" Target="../media/image22.jpg"/><Relationship Id="rId10" Type="http://schemas.openxmlformats.org/officeDocument/2006/relationships/image" Target="../media/image27.jpg"/><Relationship Id="rId4" Type="http://schemas.openxmlformats.org/officeDocument/2006/relationships/image" Target="../media/image21.emf"/><Relationship Id="rId9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3" Type="http://schemas.openxmlformats.org/officeDocument/2006/relationships/oleObject" Target="../embeddings/oleObject38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6" Type="http://schemas.openxmlformats.org/officeDocument/2006/relationships/image" Target="../media/image28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oleObject" Target="../embeddings/oleObject40.bin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44.png"/><Relationship Id="rId18" Type="http://schemas.openxmlformats.org/officeDocument/2006/relationships/image" Target="../media/image23.png"/><Relationship Id="rId3" Type="http://schemas.openxmlformats.org/officeDocument/2006/relationships/tags" Target="../tags/tag46.xml"/><Relationship Id="rId7" Type="http://schemas.openxmlformats.org/officeDocument/2006/relationships/image" Target="../media/image21.emf"/><Relationship Id="rId12" Type="http://schemas.openxmlformats.org/officeDocument/2006/relationships/customXml" Target="../ink/ink2.xml"/><Relationship Id="rId17" Type="http://schemas.openxmlformats.org/officeDocument/2006/relationships/image" Target="../media/image34.png"/><Relationship Id="rId2" Type="http://schemas.openxmlformats.org/officeDocument/2006/relationships/tags" Target="../tags/tag45.xml"/><Relationship Id="rId16" Type="http://schemas.openxmlformats.org/officeDocument/2006/relationships/customXml" Target="../ink/ink4.xml"/><Relationship Id="rId1" Type="http://schemas.openxmlformats.org/officeDocument/2006/relationships/tags" Target="../tags/tag44.xml"/><Relationship Id="rId6" Type="http://schemas.openxmlformats.org/officeDocument/2006/relationships/oleObject" Target="../embeddings/oleObject41.bin"/><Relationship Id="rId11" Type="http://schemas.openxmlformats.org/officeDocument/2006/relationships/image" Target="../media/image43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45.png"/><Relationship Id="rId10" Type="http://schemas.openxmlformats.org/officeDocument/2006/relationships/customXml" Target="../ink/ink1.xml"/><Relationship Id="rId19" Type="http://schemas.openxmlformats.org/officeDocument/2006/relationships/image" Target="../media/image29.png"/><Relationship Id="rId4" Type="http://schemas.openxmlformats.org/officeDocument/2006/relationships/tags" Target="../tags/tag47.xml"/><Relationship Id="rId9" Type="http://schemas.openxmlformats.org/officeDocument/2006/relationships/image" Target="../media/image33.png"/><Relationship Id="rId14" Type="http://schemas.openxmlformats.org/officeDocument/2006/relationships/customXml" Target="../ink/ink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tags" Target="../tags/tag50.xml"/><Relationship Id="rId7" Type="http://schemas.openxmlformats.org/officeDocument/2006/relationships/image" Target="../media/image1.emf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oleObject" Target="../embeddings/oleObject4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5" Type="http://schemas.openxmlformats.org/officeDocument/2006/relationships/image" Target="../media/image23.png"/><Relationship Id="rId4" Type="http://schemas.openxmlformats.org/officeDocument/2006/relationships/image" Target="../media/image2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FCB06DF-EEB3-854C-7363-D008741698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8004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227FE7C5-7B6C-4D4F-BAEC-92D1121944A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8"/>
          <a:stretch/>
        </p:blipFill>
        <p:spPr>
          <a:xfrm>
            <a:off x="5972809" y="1190270"/>
            <a:ext cx="4927730" cy="4917828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53B6FFD-CCDE-4EEA-8CB4-A95F483B9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7"/>
            <a:ext cx="4731802" cy="1325563"/>
          </a:xfrm>
        </p:spPr>
        <p:txBody>
          <a:bodyPr vert="horz"/>
          <a:lstStyle/>
          <a:p>
            <a:r>
              <a:rPr lang="en-GB" sz="2800" b="1" dirty="0"/>
              <a:t>UIRR Contribution </a:t>
            </a:r>
            <a:br>
              <a:rPr lang="en-GB" sz="2800" b="1" dirty="0"/>
            </a:br>
            <a:r>
              <a:rPr lang="en-GB" sz="2800" b="1" dirty="0"/>
              <a:t>@ Rail Data Forum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2D47595F-546E-A57C-3CDA-0FEA4921B6E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UIRR @ Rail Data Forum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20D7D8C0-AF9D-629C-1B24-694974F7934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34879" y="6516313"/>
            <a:ext cx="2743200" cy="268785"/>
          </a:xfrm>
        </p:spPr>
        <p:txBody>
          <a:bodyPr/>
          <a:lstStyle/>
          <a:p>
            <a:r>
              <a:rPr lang="de-DE"/>
              <a:t>19/06/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3221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3EFB556-3D1A-C37A-D84A-76D67AD13A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03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8D09514-3712-6F0B-E8C0-A806E306AF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Gap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9E4915-CA46-144C-8126-ABECB7EB5E5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5A90D9-2527-7463-617D-C11010BC40B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F2311FE-9804-4ABC-1EF0-1CB37E6B4CDE}"/>
              </a:ext>
            </a:extLst>
          </p:cNvPr>
          <p:cNvSpPr txBox="1"/>
          <p:nvPr/>
        </p:nvSpPr>
        <p:spPr>
          <a:xfrm>
            <a:off x="838200" y="1449971"/>
            <a:ext cx="11324960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dirty="0"/>
              <a:t>Terminal Operator readiness to exchange data with IMs/RUs is very low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International train number (-&gt; changing national train numbers lead to visibility loss) – not thinkable in aviation!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Focused information exchange for terminals (not e-mails for all status updates)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…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1DFB61B-5EF2-B5DC-8DAD-9E83451FE4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5276" y="6331646"/>
            <a:ext cx="611078" cy="369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0359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272C28D-869E-6173-E79F-35033EB1C0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272C28D-869E-6173-E79F-35033EB1C0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AC3F4DF-A260-C2D9-116C-B7727F910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cQMS</a:t>
            </a:r>
            <a:r>
              <a:rPr lang="en-GB" dirty="0"/>
              <a:t> covers terminal-to-termina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3B6092-743D-54A4-E872-8C2FF4A94ED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/06/2024</a:t>
            </a:r>
            <a:endParaRPr lang="en-B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E7FDA5-5854-C6A4-2689-74E40DFA1C2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UIRR @ Rail Data Forum</a:t>
            </a:r>
            <a:endParaRPr lang="en-BE" dirty="0"/>
          </a:p>
        </p:txBody>
      </p:sp>
      <p:pic>
        <p:nvPicPr>
          <p:cNvPr id="7" name="Picture 6" descr="A screenshot of a video game&#10;&#10;Description automatically generated">
            <a:extLst>
              <a:ext uri="{FF2B5EF4-FFF2-40B4-BE49-F238E27FC236}">
                <a16:creationId xmlns:a16="http://schemas.microsoft.com/office/drawing/2014/main" id="{00AC56D9-1B59-EF9D-E62A-4AAFF90DCE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264956"/>
            <a:ext cx="10515600" cy="425712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43D3719-FDA2-DC2D-8404-711AE68771B2}"/>
              </a:ext>
            </a:extLst>
          </p:cNvPr>
          <p:cNvSpPr txBox="1"/>
          <p:nvPr/>
        </p:nvSpPr>
        <p:spPr>
          <a:xfrm>
            <a:off x="787853" y="5712486"/>
            <a:ext cx="56236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utlook will contain door-to-door inclusion opportuniti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044AA4C-FE8F-1EE0-831A-B6D60BB086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15276" y="6331646"/>
            <a:ext cx="611078" cy="369333"/>
          </a:xfrm>
          <a:prstGeom prst="rect">
            <a:avLst/>
          </a:prstGeom>
        </p:spPr>
      </p:pic>
      <p:pic>
        <p:nvPicPr>
          <p:cNvPr id="6" name="Graphic 6">
            <a:extLst>
              <a:ext uri="{FF2B5EF4-FFF2-40B4-BE49-F238E27FC236}">
                <a16:creationId xmlns:a16="http://schemas.microsoft.com/office/drawing/2014/main" id="{F85C581C-EBF0-1566-008E-1833DBA8D0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11508" y="6265531"/>
            <a:ext cx="1364522" cy="501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8152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D0178B86-10A7-BA24-149F-D6504312F1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5" name="Object 44" hidden="1">
                        <a:extLst>
                          <a:ext uri="{FF2B5EF4-FFF2-40B4-BE49-F238E27FC236}">
                            <a16:creationId xmlns:a16="http://schemas.microsoft.com/office/drawing/2014/main" id="{D0178B86-10A7-BA24-149F-D6504312F1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0990708-EA71-6AE3-255A-50A2E68DB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nceptual view of reason coding within </a:t>
            </a:r>
            <a:r>
              <a:rPr lang="en-GB" dirty="0" err="1"/>
              <a:t>cQMS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781E5A-380A-1605-D218-67D41473FA4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/06/2024</a:t>
            </a:r>
            <a:endParaRPr lang="en-B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2A0855-13C7-1022-FBD7-13568E167D1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UIRR @ Rail Data Forum</a:t>
            </a:r>
            <a:endParaRPr lang="en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9D0F5E0-5B63-9513-2D5E-31882C41A248}"/>
              </a:ext>
            </a:extLst>
          </p:cNvPr>
          <p:cNvSpPr/>
          <p:nvPr/>
        </p:nvSpPr>
        <p:spPr>
          <a:xfrm>
            <a:off x="838200" y="1921003"/>
            <a:ext cx="2161845" cy="2527959"/>
          </a:xfrm>
          <a:prstGeom prst="rect">
            <a:avLst/>
          </a:prstGeom>
          <a:solidFill>
            <a:srgbClr val="F5E167"/>
          </a:solidFill>
          <a:ln w="9525">
            <a:solidFill>
              <a:srgbClr val="F5E1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2CDB5B-498F-F9E8-1887-3ED3AFC4538A}"/>
              </a:ext>
            </a:extLst>
          </p:cNvPr>
          <p:cNvSpPr/>
          <p:nvPr/>
        </p:nvSpPr>
        <p:spPr>
          <a:xfrm>
            <a:off x="3123670" y="1973816"/>
            <a:ext cx="673531" cy="343638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MAPP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FE4B2C-9EC9-F2C8-6455-B99C9F6DFF2B}"/>
              </a:ext>
            </a:extLst>
          </p:cNvPr>
          <p:cNvSpPr txBox="1"/>
          <p:nvPr/>
        </p:nvSpPr>
        <p:spPr>
          <a:xfrm>
            <a:off x="923625" y="2129150"/>
            <a:ext cx="409215" cy="21544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GB" sz="1400" b="1" dirty="0"/>
              <a:t>CTO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FFAA29A-AFEC-2183-FAB5-D6B91A4B876E}"/>
              </a:ext>
            </a:extLst>
          </p:cNvPr>
          <p:cNvSpPr txBox="1"/>
          <p:nvPr/>
        </p:nvSpPr>
        <p:spPr>
          <a:xfrm>
            <a:off x="4034678" y="2489190"/>
            <a:ext cx="2282804" cy="21544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GB" sz="1400" b="1" dirty="0">
                <a:solidFill>
                  <a:srgbClr val="5AAD41"/>
                </a:solidFill>
              </a:rPr>
              <a:t>Harmonised Reason Codes C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55567C-349A-1BEF-138C-CDD62E6A414A}"/>
              </a:ext>
            </a:extLst>
          </p:cNvPr>
          <p:cNvSpPr/>
          <p:nvPr/>
        </p:nvSpPr>
        <p:spPr>
          <a:xfrm>
            <a:off x="6533506" y="1973816"/>
            <a:ext cx="648072" cy="343638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GB" sz="2400" dirty="0">
                <a:solidFill>
                  <a:srgbClr val="C00000"/>
                </a:solidFill>
              </a:rPr>
              <a:t>MAPP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FB74AD-AA06-7277-0D6A-816C3EECFF2B}"/>
              </a:ext>
            </a:extLst>
          </p:cNvPr>
          <p:cNvSpPr txBox="1"/>
          <p:nvPr/>
        </p:nvSpPr>
        <p:spPr>
          <a:xfrm>
            <a:off x="923625" y="2741073"/>
            <a:ext cx="305020" cy="21544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GB" sz="1400" b="1" dirty="0"/>
              <a:t>TO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256FA9-5181-C690-ABA4-5E7D7A885FA8}"/>
              </a:ext>
            </a:extLst>
          </p:cNvPr>
          <p:cNvSpPr txBox="1"/>
          <p:nvPr/>
        </p:nvSpPr>
        <p:spPr>
          <a:xfrm>
            <a:off x="923625" y="3352996"/>
            <a:ext cx="340781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1400" b="1" dirty="0"/>
              <a:t>RU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8738F25-B244-5F3C-859C-A749B0739A8F}"/>
              </a:ext>
            </a:extLst>
          </p:cNvPr>
          <p:cNvSpPr txBox="1"/>
          <p:nvPr/>
        </p:nvSpPr>
        <p:spPr>
          <a:xfrm>
            <a:off x="923625" y="3964919"/>
            <a:ext cx="274114" cy="21544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GB" sz="1400" b="1" dirty="0"/>
              <a:t>IM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C82E06D-95AC-CF7E-1FBD-CF97E739D5C1}"/>
              </a:ext>
            </a:extLst>
          </p:cNvPr>
          <p:cNvSpPr txBox="1"/>
          <p:nvPr/>
        </p:nvSpPr>
        <p:spPr>
          <a:xfrm>
            <a:off x="923625" y="4576842"/>
            <a:ext cx="713337" cy="430887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GB" sz="1400" b="1" dirty="0"/>
              <a:t>Shunting</a:t>
            </a:r>
          </a:p>
          <a:p>
            <a:r>
              <a:rPr lang="en-GB" sz="1400" b="1" dirty="0"/>
              <a:t>Yard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920C6A-573E-FE48-2FE1-7D747F7510F3}"/>
              </a:ext>
            </a:extLst>
          </p:cNvPr>
          <p:cNvSpPr txBox="1"/>
          <p:nvPr/>
        </p:nvSpPr>
        <p:spPr>
          <a:xfrm>
            <a:off x="8235033" y="3427441"/>
            <a:ext cx="333874" cy="64633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GB" sz="1400" b="1" dirty="0"/>
              <a:t>CTO</a:t>
            </a:r>
          </a:p>
          <a:p>
            <a:endParaRPr lang="en-GB" sz="1400" b="1" dirty="0"/>
          </a:p>
          <a:p>
            <a:r>
              <a:rPr lang="en-GB" sz="1400" b="1" dirty="0"/>
              <a:t>T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FE91E3E-F441-6D59-7CE7-7FA78C480C78}"/>
              </a:ext>
            </a:extLst>
          </p:cNvPr>
          <p:cNvSpPr txBox="1"/>
          <p:nvPr/>
        </p:nvSpPr>
        <p:spPr>
          <a:xfrm>
            <a:off x="8235033" y="4344444"/>
            <a:ext cx="333873" cy="2154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1400" b="1" dirty="0"/>
              <a:t>LSP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D2788BB-171A-1523-C8C5-7C175F321320}"/>
              </a:ext>
            </a:extLst>
          </p:cNvPr>
          <p:cNvSpPr txBox="1"/>
          <p:nvPr/>
        </p:nvSpPr>
        <p:spPr>
          <a:xfrm>
            <a:off x="8235033" y="4830559"/>
            <a:ext cx="602729" cy="21544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GB" sz="1400" b="1" dirty="0"/>
              <a:t>Shipp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1BB6A1A-66B3-34B2-6A25-59E6FA68FAC1}"/>
              </a:ext>
            </a:extLst>
          </p:cNvPr>
          <p:cNvSpPr txBox="1"/>
          <p:nvPr/>
        </p:nvSpPr>
        <p:spPr>
          <a:xfrm>
            <a:off x="8235033" y="2941325"/>
            <a:ext cx="541815" cy="21544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GB" sz="1400" b="1" dirty="0"/>
              <a:t>CESA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9BF70E-5407-A83B-4327-5F2C80E7F5BA}"/>
              </a:ext>
            </a:extLst>
          </p:cNvPr>
          <p:cNvSpPr/>
          <p:nvPr/>
        </p:nvSpPr>
        <p:spPr>
          <a:xfrm>
            <a:off x="4185478" y="2836963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5AAD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C598DC5-C6C7-AA36-DF5D-AEDBD0298C69}"/>
              </a:ext>
            </a:extLst>
          </p:cNvPr>
          <p:cNvSpPr/>
          <p:nvPr/>
        </p:nvSpPr>
        <p:spPr>
          <a:xfrm>
            <a:off x="4472911" y="2836963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5AAD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7952CF3-0BC5-142D-0BFF-0C39758A635A}"/>
              </a:ext>
            </a:extLst>
          </p:cNvPr>
          <p:cNvSpPr/>
          <p:nvPr/>
        </p:nvSpPr>
        <p:spPr>
          <a:xfrm>
            <a:off x="4762613" y="2836963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5AAD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D01774C-88E1-0E32-CB90-AFDC6B4234D9}"/>
              </a:ext>
            </a:extLst>
          </p:cNvPr>
          <p:cNvSpPr/>
          <p:nvPr/>
        </p:nvSpPr>
        <p:spPr>
          <a:xfrm>
            <a:off x="5048375" y="2836963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5AAD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26AFBF8-6957-0E07-182B-920D02874D98}"/>
              </a:ext>
            </a:extLst>
          </p:cNvPr>
          <p:cNvSpPr/>
          <p:nvPr/>
        </p:nvSpPr>
        <p:spPr>
          <a:xfrm>
            <a:off x="5503951" y="2836963"/>
            <a:ext cx="903506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5AAD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72000" rtlCol="0" anchor="ctr"/>
          <a:lstStyle/>
          <a:p>
            <a:pPr algn="ctr"/>
            <a:r>
              <a:rPr lang="en-GB" dirty="0">
                <a:solidFill>
                  <a:srgbClr val="5AAD41"/>
                </a:solidFill>
              </a:rPr>
              <a:t>t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C788A23-CF3F-8ECE-CF22-85F85109403E}"/>
              </a:ext>
            </a:extLst>
          </p:cNvPr>
          <p:cNvSpPr txBox="1"/>
          <p:nvPr/>
        </p:nvSpPr>
        <p:spPr>
          <a:xfrm>
            <a:off x="1924994" y="1992763"/>
            <a:ext cx="516167" cy="18466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200" b="1" dirty="0"/>
              <a:t>EDIGES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5A61733F-982E-BB24-C8D2-4F2EAF9C8379}"/>
              </a:ext>
            </a:extLst>
          </p:cNvPr>
          <p:cNvCxnSpPr>
            <a:cxnSpLocks/>
          </p:cNvCxnSpPr>
          <p:nvPr/>
        </p:nvCxnSpPr>
        <p:spPr>
          <a:xfrm>
            <a:off x="1924994" y="2195947"/>
            <a:ext cx="735312" cy="0"/>
          </a:xfrm>
          <a:prstGeom prst="straightConnector1">
            <a:avLst/>
          </a:prstGeom>
          <a:ln w="22225">
            <a:solidFill>
              <a:srgbClr val="5AAD4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4F6DBBEC-8C14-934D-5D05-DB5C5467A776}"/>
              </a:ext>
            </a:extLst>
          </p:cNvPr>
          <p:cNvSpPr txBox="1"/>
          <p:nvPr/>
        </p:nvSpPr>
        <p:spPr>
          <a:xfrm>
            <a:off x="2115751" y="2230670"/>
            <a:ext cx="134652" cy="18466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200" b="1" dirty="0"/>
              <a:t>…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2FCCAB2-8926-B0B3-9EF2-B94025FE1E9D}"/>
              </a:ext>
            </a:extLst>
          </p:cNvPr>
          <p:cNvCxnSpPr>
            <a:cxnSpLocks/>
          </p:cNvCxnSpPr>
          <p:nvPr/>
        </p:nvCxnSpPr>
        <p:spPr>
          <a:xfrm>
            <a:off x="1924994" y="2433854"/>
            <a:ext cx="735312" cy="0"/>
          </a:xfrm>
          <a:prstGeom prst="straightConnector1">
            <a:avLst/>
          </a:prstGeom>
          <a:ln w="22225">
            <a:solidFill>
              <a:srgbClr val="5AAD4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2390D8A7-1262-3A7C-D858-62761270C544}"/>
              </a:ext>
            </a:extLst>
          </p:cNvPr>
          <p:cNvSpPr txBox="1"/>
          <p:nvPr/>
        </p:nvSpPr>
        <p:spPr>
          <a:xfrm>
            <a:off x="2115751" y="2620241"/>
            <a:ext cx="134652" cy="18466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200" b="1" dirty="0"/>
              <a:t>…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ADB26E7-29ED-2AA3-C2B3-693B798AAF7B}"/>
              </a:ext>
            </a:extLst>
          </p:cNvPr>
          <p:cNvCxnSpPr>
            <a:cxnSpLocks/>
          </p:cNvCxnSpPr>
          <p:nvPr/>
        </p:nvCxnSpPr>
        <p:spPr>
          <a:xfrm>
            <a:off x="1924994" y="2823425"/>
            <a:ext cx="735312" cy="0"/>
          </a:xfrm>
          <a:prstGeom prst="straightConnector1">
            <a:avLst/>
          </a:prstGeom>
          <a:ln w="22225">
            <a:solidFill>
              <a:srgbClr val="5AAD4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C917EA9-53AB-B689-38E6-F1AF0D5BB96D}"/>
              </a:ext>
            </a:extLst>
          </p:cNvPr>
          <p:cNvSpPr txBox="1"/>
          <p:nvPr/>
        </p:nvSpPr>
        <p:spPr>
          <a:xfrm>
            <a:off x="2115751" y="2858148"/>
            <a:ext cx="134652" cy="18466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200" b="1" dirty="0"/>
              <a:t>…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4EE4379-28D7-B666-9705-87F3C7EA4E0A}"/>
              </a:ext>
            </a:extLst>
          </p:cNvPr>
          <p:cNvCxnSpPr>
            <a:cxnSpLocks/>
          </p:cNvCxnSpPr>
          <p:nvPr/>
        </p:nvCxnSpPr>
        <p:spPr>
          <a:xfrm>
            <a:off x="1924994" y="3061332"/>
            <a:ext cx="735312" cy="0"/>
          </a:xfrm>
          <a:prstGeom prst="straightConnector1">
            <a:avLst/>
          </a:prstGeom>
          <a:ln w="22225">
            <a:solidFill>
              <a:srgbClr val="5AAD4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EC170F8-24C9-6A22-C4C0-A051A673CCA6}"/>
              </a:ext>
            </a:extLst>
          </p:cNvPr>
          <p:cNvSpPr txBox="1"/>
          <p:nvPr/>
        </p:nvSpPr>
        <p:spPr>
          <a:xfrm>
            <a:off x="1917910" y="3260663"/>
            <a:ext cx="530338" cy="18466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200" b="1" dirty="0"/>
              <a:t>TAF-TSI</a:t>
            </a:r>
          </a:p>
        </p:txBody>
      </p: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6FC12947-D467-85DA-1557-09B52F950A09}"/>
              </a:ext>
            </a:extLst>
          </p:cNvPr>
          <p:cNvCxnSpPr>
            <a:cxnSpLocks/>
          </p:cNvCxnSpPr>
          <p:nvPr/>
        </p:nvCxnSpPr>
        <p:spPr>
          <a:xfrm>
            <a:off x="1924994" y="3463847"/>
            <a:ext cx="735312" cy="0"/>
          </a:xfrm>
          <a:prstGeom prst="straightConnector1">
            <a:avLst/>
          </a:prstGeom>
          <a:ln w="22225">
            <a:solidFill>
              <a:srgbClr val="5AAD4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59187657-570D-6F56-D664-319155722798}"/>
              </a:ext>
            </a:extLst>
          </p:cNvPr>
          <p:cNvSpPr txBox="1"/>
          <p:nvPr/>
        </p:nvSpPr>
        <p:spPr>
          <a:xfrm>
            <a:off x="1924994" y="3498570"/>
            <a:ext cx="516167" cy="18466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200" b="1" dirty="0"/>
              <a:t>EDIGES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6E760D94-91A6-1BBE-7EF5-D6F997A8C71A}"/>
              </a:ext>
            </a:extLst>
          </p:cNvPr>
          <p:cNvCxnSpPr>
            <a:cxnSpLocks/>
          </p:cNvCxnSpPr>
          <p:nvPr/>
        </p:nvCxnSpPr>
        <p:spPr>
          <a:xfrm>
            <a:off x="1924994" y="3701754"/>
            <a:ext cx="735312" cy="0"/>
          </a:xfrm>
          <a:prstGeom prst="straightConnector1">
            <a:avLst/>
          </a:prstGeom>
          <a:ln w="22225">
            <a:solidFill>
              <a:srgbClr val="5AAD4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D67EF0F7-CFF1-D0D9-347E-520A317268D7}"/>
              </a:ext>
            </a:extLst>
          </p:cNvPr>
          <p:cNvSpPr txBox="1"/>
          <p:nvPr/>
        </p:nvSpPr>
        <p:spPr>
          <a:xfrm>
            <a:off x="2115751" y="3869622"/>
            <a:ext cx="134652" cy="18466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200" b="1" dirty="0"/>
              <a:t>…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1BAF596-AEBD-2327-1CAE-513EB185798F}"/>
              </a:ext>
            </a:extLst>
          </p:cNvPr>
          <p:cNvCxnSpPr>
            <a:cxnSpLocks/>
          </p:cNvCxnSpPr>
          <p:nvPr/>
        </p:nvCxnSpPr>
        <p:spPr>
          <a:xfrm>
            <a:off x="1924994" y="4072806"/>
            <a:ext cx="735312" cy="0"/>
          </a:xfrm>
          <a:prstGeom prst="straightConnector1">
            <a:avLst/>
          </a:prstGeom>
          <a:ln w="22225">
            <a:solidFill>
              <a:srgbClr val="5AAD4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088ACB18-0238-D8C4-03E9-E14DA470A933}"/>
              </a:ext>
            </a:extLst>
          </p:cNvPr>
          <p:cNvSpPr txBox="1"/>
          <p:nvPr/>
        </p:nvSpPr>
        <p:spPr>
          <a:xfrm>
            <a:off x="2115751" y="4107529"/>
            <a:ext cx="134652" cy="18466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200" b="1" dirty="0"/>
              <a:t>…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78A47029-D31D-AC7C-32F4-E119956AA0CA}"/>
              </a:ext>
            </a:extLst>
          </p:cNvPr>
          <p:cNvCxnSpPr>
            <a:cxnSpLocks/>
          </p:cNvCxnSpPr>
          <p:nvPr/>
        </p:nvCxnSpPr>
        <p:spPr>
          <a:xfrm>
            <a:off x="1924994" y="4310713"/>
            <a:ext cx="735312" cy="0"/>
          </a:xfrm>
          <a:prstGeom prst="straightConnector1">
            <a:avLst/>
          </a:prstGeom>
          <a:ln w="22225">
            <a:solidFill>
              <a:srgbClr val="5AAD4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71FC6D8-59EC-5598-A9CA-4C7645A90ED0}"/>
              </a:ext>
            </a:extLst>
          </p:cNvPr>
          <p:cNvSpPr txBox="1"/>
          <p:nvPr/>
        </p:nvSpPr>
        <p:spPr>
          <a:xfrm>
            <a:off x="2115751" y="4581804"/>
            <a:ext cx="134652" cy="18466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200" b="1" dirty="0"/>
              <a:t>…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7AC634A-9071-6824-3A15-C51DA88C5C81}"/>
              </a:ext>
            </a:extLst>
          </p:cNvPr>
          <p:cNvCxnSpPr>
            <a:cxnSpLocks/>
          </p:cNvCxnSpPr>
          <p:nvPr/>
        </p:nvCxnSpPr>
        <p:spPr>
          <a:xfrm>
            <a:off x="1924994" y="4784988"/>
            <a:ext cx="735312" cy="0"/>
          </a:xfrm>
          <a:prstGeom prst="straightConnector1">
            <a:avLst/>
          </a:prstGeom>
          <a:ln w="22225">
            <a:solidFill>
              <a:srgbClr val="5AAD4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5202A530-1AFB-54EF-9636-AC5E42EC591E}"/>
              </a:ext>
            </a:extLst>
          </p:cNvPr>
          <p:cNvSpPr txBox="1"/>
          <p:nvPr/>
        </p:nvSpPr>
        <p:spPr>
          <a:xfrm>
            <a:off x="2115751" y="4819711"/>
            <a:ext cx="134652" cy="184666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200" b="1" dirty="0"/>
              <a:t>…</a:t>
            </a:r>
          </a:p>
        </p:txBody>
      </p: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6AECADBC-1478-C75F-7288-B0093117D2EC}"/>
              </a:ext>
            </a:extLst>
          </p:cNvPr>
          <p:cNvCxnSpPr>
            <a:cxnSpLocks/>
          </p:cNvCxnSpPr>
          <p:nvPr/>
        </p:nvCxnSpPr>
        <p:spPr>
          <a:xfrm>
            <a:off x="1924994" y="5022895"/>
            <a:ext cx="735312" cy="0"/>
          </a:xfrm>
          <a:prstGeom prst="straightConnector1">
            <a:avLst/>
          </a:prstGeom>
          <a:ln w="22225">
            <a:solidFill>
              <a:srgbClr val="5AAD4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F235AEDC-26A7-CEF8-E7D6-935ECC92E772}"/>
              </a:ext>
            </a:extLst>
          </p:cNvPr>
          <p:cNvCxnSpPr/>
          <p:nvPr/>
        </p:nvCxnSpPr>
        <p:spPr>
          <a:xfrm>
            <a:off x="7258050" y="3072956"/>
            <a:ext cx="838200" cy="0"/>
          </a:xfrm>
          <a:prstGeom prst="straightConnector1">
            <a:avLst/>
          </a:prstGeom>
          <a:ln w="19050"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D81CA25F-4880-98C2-2625-20E333E35230}"/>
              </a:ext>
            </a:extLst>
          </p:cNvPr>
          <p:cNvCxnSpPr/>
          <p:nvPr/>
        </p:nvCxnSpPr>
        <p:spPr>
          <a:xfrm>
            <a:off x="7258050" y="3514047"/>
            <a:ext cx="838200" cy="0"/>
          </a:xfrm>
          <a:prstGeom prst="straightConnector1">
            <a:avLst/>
          </a:prstGeom>
          <a:ln w="19050"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A0A1EA5-92BA-28E8-0162-1580F0A5E4E7}"/>
              </a:ext>
            </a:extLst>
          </p:cNvPr>
          <p:cNvCxnSpPr/>
          <p:nvPr/>
        </p:nvCxnSpPr>
        <p:spPr>
          <a:xfrm>
            <a:off x="7258050" y="3960900"/>
            <a:ext cx="838200" cy="0"/>
          </a:xfrm>
          <a:prstGeom prst="straightConnector1">
            <a:avLst/>
          </a:prstGeom>
          <a:ln w="19050"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178F4548-E5B7-340D-B2C1-9D5BB617D02F}"/>
              </a:ext>
            </a:extLst>
          </p:cNvPr>
          <p:cNvCxnSpPr/>
          <p:nvPr/>
        </p:nvCxnSpPr>
        <p:spPr>
          <a:xfrm>
            <a:off x="7258050" y="4487686"/>
            <a:ext cx="838200" cy="0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A6399154-2C87-CE9B-5F60-0CDC2EC82C7B}"/>
              </a:ext>
            </a:extLst>
          </p:cNvPr>
          <p:cNvCxnSpPr/>
          <p:nvPr/>
        </p:nvCxnSpPr>
        <p:spPr>
          <a:xfrm>
            <a:off x="7258050" y="4901677"/>
            <a:ext cx="838200" cy="0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66E24707-E3B7-5149-802C-A7E3B83EAEA6}"/>
              </a:ext>
            </a:extLst>
          </p:cNvPr>
          <p:cNvSpPr/>
          <p:nvPr/>
        </p:nvSpPr>
        <p:spPr>
          <a:xfrm>
            <a:off x="3902535" y="2836193"/>
            <a:ext cx="288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5AAD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39E23A7-F660-757A-7A6A-4405ACBFF5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5276" y="6331646"/>
            <a:ext cx="611078" cy="369333"/>
          </a:xfrm>
          <a:prstGeom prst="rect">
            <a:avLst/>
          </a:prstGeom>
        </p:spPr>
      </p:pic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BA1CB8DE-848C-5807-F97E-DD5E42421953}"/>
              </a:ext>
            </a:extLst>
          </p:cNvPr>
          <p:cNvCxnSpPr/>
          <p:nvPr/>
        </p:nvCxnSpPr>
        <p:spPr>
          <a:xfrm>
            <a:off x="7258050" y="2272893"/>
            <a:ext cx="838200" cy="0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AE39477-ECC3-0ED2-2171-9BA1DBC9134F}"/>
              </a:ext>
            </a:extLst>
          </p:cNvPr>
          <p:cNvCxnSpPr/>
          <p:nvPr/>
        </p:nvCxnSpPr>
        <p:spPr>
          <a:xfrm>
            <a:off x="7258050" y="2680786"/>
            <a:ext cx="838200" cy="0"/>
          </a:xfrm>
          <a:prstGeom prst="straightConnector1">
            <a:avLst/>
          </a:prstGeom>
          <a:ln w="19050">
            <a:prstDash val="dash"/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FD7EF5CD-46FC-6494-A143-AE3A9DFFF93E}"/>
              </a:ext>
            </a:extLst>
          </p:cNvPr>
          <p:cNvSpPr txBox="1"/>
          <p:nvPr/>
        </p:nvSpPr>
        <p:spPr>
          <a:xfrm>
            <a:off x="8235032" y="2163308"/>
            <a:ext cx="218008" cy="21544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GB" sz="1400" b="1" dirty="0"/>
              <a:t>RU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A919E85-8F50-3B6E-3626-2D3E453C71DB}"/>
              </a:ext>
            </a:extLst>
          </p:cNvPr>
          <p:cNvSpPr txBox="1"/>
          <p:nvPr/>
        </p:nvSpPr>
        <p:spPr>
          <a:xfrm>
            <a:off x="8235032" y="2573064"/>
            <a:ext cx="190758" cy="21544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GB" sz="1400" b="1" dirty="0"/>
              <a:t>IM</a:t>
            </a:r>
          </a:p>
        </p:txBody>
      </p:sp>
    </p:spTree>
    <p:extLst>
      <p:ext uri="{BB962C8B-B14F-4D97-AF65-F5344CB8AC3E}">
        <p14:creationId xmlns:p14="http://schemas.microsoft.com/office/powerpoint/2010/main" val="39799258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F057215-A1DC-24E5-BBDE-13C66E9192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7026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057215-A1DC-24E5-BBDE-13C66E919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EBB3FE4-4F8C-F45C-F2D6-1CA42EF308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37417"/>
            <a:ext cx="10515600" cy="357544"/>
          </a:xfrm>
        </p:spPr>
        <p:txBody>
          <a:bodyPr vert="horz"/>
          <a:lstStyle/>
          <a:p>
            <a:r>
              <a:rPr lang="en-GB" sz="2400" dirty="0"/>
              <a:t>Standards -&gt; Interoperability -&gt;Willingness to share -&gt; Interfaces to share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DEB3F2-34B9-B92E-2767-59C66DDC4E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C6F5BE-BEA7-E480-E628-960D7946C03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91E21E-EEE3-62DD-8876-564210F3E1C7}"/>
              </a:ext>
            </a:extLst>
          </p:cNvPr>
          <p:cNvSpPr txBox="1"/>
          <p:nvPr/>
        </p:nvSpPr>
        <p:spPr>
          <a:xfrm>
            <a:off x="9329664" y="2375731"/>
            <a:ext cx="239085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dirty="0"/>
              <a:t>Shippers &amp; LSPs requirements to manage their business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Governmental requirements (e.g. </a:t>
            </a:r>
            <a:r>
              <a:rPr lang="en-GB" dirty="0" err="1"/>
              <a:t>eFTI</a:t>
            </a:r>
            <a:r>
              <a:rPr lang="en-GB" dirty="0"/>
              <a:t>, customs)</a:t>
            </a:r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Sector internal requirement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17D5EB1-5819-6C04-CD21-FEF65DF900AC}"/>
              </a:ext>
            </a:extLst>
          </p:cNvPr>
          <p:cNvSpPr txBox="1"/>
          <p:nvPr/>
        </p:nvSpPr>
        <p:spPr>
          <a:xfrm>
            <a:off x="838200" y="424666"/>
            <a:ext cx="96984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latin typeface="Open Sans Medium" pitchFamily="2" charset="0"/>
              </a:rPr>
              <a:t>Interoperability must be aligned on several levels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1F5A3FF-C31B-1A33-5E8F-F4623D840FA5}"/>
              </a:ext>
            </a:extLst>
          </p:cNvPr>
          <p:cNvSpPr/>
          <p:nvPr/>
        </p:nvSpPr>
        <p:spPr>
          <a:xfrm>
            <a:off x="838200" y="1140864"/>
            <a:ext cx="204387" cy="196553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1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21489A3-9854-D47C-CC6F-4726E63F2490}"/>
              </a:ext>
            </a:extLst>
          </p:cNvPr>
          <p:cNvSpPr/>
          <p:nvPr/>
        </p:nvSpPr>
        <p:spPr>
          <a:xfrm>
            <a:off x="2809980" y="1140864"/>
            <a:ext cx="204387" cy="196553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2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F5C6558-A1BD-2577-6A4B-87BF8C88B60E}"/>
              </a:ext>
            </a:extLst>
          </p:cNvPr>
          <p:cNvSpPr/>
          <p:nvPr/>
        </p:nvSpPr>
        <p:spPr>
          <a:xfrm>
            <a:off x="5121068" y="1140864"/>
            <a:ext cx="204387" cy="196553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3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891A5A5A-EBD9-0744-89A4-6C0135A3613C}"/>
              </a:ext>
            </a:extLst>
          </p:cNvPr>
          <p:cNvSpPr/>
          <p:nvPr/>
        </p:nvSpPr>
        <p:spPr>
          <a:xfrm>
            <a:off x="8307225" y="1140864"/>
            <a:ext cx="204387" cy="196553"/>
          </a:xfrm>
          <a:prstGeom prst="ellipse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4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835F83FE-BF02-AB08-F104-A1BC4368E9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5276" y="6331646"/>
            <a:ext cx="611078" cy="369333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D643C0AE-730A-3A0F-9673-34994B5640A2}"/>
              </a:ext>
            </a:extLst>
          </p:cNvPr>
          <p:cNvGrpSpPr/>
          <p:nvPr/>
        </p:nvGrpSpPr>
        <p:grpSpPr>
          <a:xfrm>
            <a:off x="926666" y="1841008"/>
            <a:ext cx="8402998" cy="3974862"/>
            <a:chOff x="594769" y="806265"/>
            <a:chExt cx="11227979" cy="5645937"/>
          </a:xfrm>
        </p:grpSpPr>
        <p:sp>
          <p:nvSpPr>
            <p:cNvPr id="2" name="Content Placeholder 2">
              <a:extLst>
                <a:ext uri="{FF2B5EF4-FFF2-40B4-BE49-F238E27FC236}">
                  <a16:creationId xmlns:a16="http://schemas.microsoft.com/office/drawing/2014/main" id="{C0333A1D-E9E8-BFD9-4DBD-86854485A37A}"/>
                </a:ext>
              </a:extLst>
            </p:cNvPr>
            <p:cNvSpPr txBox="1">
              <a:spLocks/>
            </p:cNvSpPr>
            <p:nvPr/>
          </p:nvSpPr>
          <p:spPr>
            <a:xfrm>
              <a:off x="6106771" y="1175596"/>
              <a:ext cx="3664431" cy="5128527"/>
            </a:xfrm>
            <a:prstGeom prst="rect">
              <a:avLst/>
            </a:prstGeom>
          </p:spPr>
          <p:txBody>
            <a:bodyPr>
              <a:normAutofit fontScale="92500" lnSpcReduction="20000"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Font typeface="Wingdings 3" panose="05040102010807070707" pitchFamily="18" charset="2"/>
                <a:buChar char=""/>
              </a:pPr>
              <a:r>
                <a:rPr lang="en-US" sz="900" dirty="0"/>
                <a:t>Interaction and governance rules, responsibilities, value creation, capturing and distribution, incentives &amp; collaboration</a:t>
              </a:r>
            </a:p>
            <a:p>
              <a:pPr>
                <a:spcBef>
                  <a:spcPts val="600"/>
                </a:spcBef>
                <a:buFont typeface="Wingdings 3" panose="05040102010807070707" pitchFamily="18" charset="2"/>
                <a:buChar char=""/>
              </a:pPr>
              <a:r>
                <a:rPr lang="en-US" sz="900" dirty="0"/>
                <a:t>Privacy, human rights, equity, accessibility, fairness, openness</a:t>
              </a:r>
            </a:p>
            <a:p>
              <a:pPr>
                <a:spcBef>
                  <a:spcPts val="2400"/>
                </a:spcBef>
                <a:buFont typeface="Wingdings 3" panose="05040102010807070707" pitchFamily="18" charset="2"/>
                <a:buChar char=""/>
              </a:pPr>
              <a:r>
                <a:rPr lang="en-US" sz="900" dirty="0"/>
                <a:t>Customer orientation, ease of use, capturing data to improve, high availability and responsiveness</a:t>
              </a:r>
            </a:p>
            <a:p>
              <a:pPr>
                <a:spcBef>
                  <a:spcPts val="600"/>
                </a:spcBef>
                <a:buFont typeface="Wingdings 3" panose="05040102010807070707" pitchFamily="18" charset="2"/>
                <a:buChar char=""/>
              </a:pPr>
              <a:r>
                <a:rPr lang="en-US" sz="900" dirty="0"/>
                <a:t>Continuous learning and adaptation to new learnings and changing needs</a:t>
              </a:r>
            </a:p>
            <a:p>
              <a:pPr>
                <a:spcBef>
                  <a:spcPts val="600"/>
                </a:spcBef>
                <a:buFont typeface="Wingdings 3" panose="05040102010807070707" pitchFamily="18" charset="2"/>
                <a:buChar char=""/>
              </a:pPr>
              <a:endParaRPr lang="en-US" sz="900" dirty="0"/>
            </a:p>
            <a:p>
              <a:pPr>
                <a:spcBef>
                  <a:spcPts val="600"/>
                </a:spcBef>
                <a:buFont typeface="Wingdings 3" panose="05040102010807070707" pitchFamily="18" charset="2"/>
                <a:buChar char=""/>
              </a:pPr>
              <a:endParaRPr lang="en-US" sz="900" dirty="0"/>
            </a:p>
            <a:p>
              <a:pPr>
                <a:spcBef>
                  <a:spcPts val="600"/>
                </a:spcBef>
                <a:buFont typeface="Wingdings 3" panose="05040102010807070707" pitchFamily="18" charset="2"/>
                <a:buChar char=""/>
              </a:pPr>
              <a:r>
                <a:rPr lang="en-US" sz="900" dirty="0"/>
                <a:t>Digital and physical communication and exchange standards (e.g. authorization, certification, pressure)</a:t>
              </a:r>
            </a:p>
            <a:p>
              <a:pPr>
                <a:spcBef>
                  <a:spcPts val="600"/>
                </a:spcBef>
                <a:buFont typeface="Wingdings 3" panose="05040102010807070707" pitchFamily="18" charset="2"/>
                <a:buChar char=""/>
              </a:pPr>
              <a:endParaRPr lang="en-US" sz="900" dirty="0"/>
            </a:p>
            <a:p>
              <a:pPr>
                <a:spcBef>
                  <a:spcPts val="600"/>
                </a:spcBef>
                <a:buFont typeface="Wingdings 3" panose="05040102010807070707" pitchFamily="18" charset="2"/>
                <a:buChar char=""/>
              </a:pPr>
              <a:r>
                <a:rPr lang="en-US" sz="900" dirty="0" err="1"/>
                <a:t>Standardisation</a:t>
              </a:r>
              <a:r>
                <a:rPr lang="en-US" sz="900" dirty="0"/>
                <a:t> and harmonization of ontologies, metadata for technical and commercial data exchange</a:t>
              </a:r>
            </a:p>
            <a:p>
              <a:pPr>
                <a:spcBef>
                  <a:spcPts val="600"/>
                </a:spcBef>
                <a:buFont typeface="Wingdings 3" panose="05040102010807070707" pitchFamily="18" charset="2"/>
                <a:buChar char=""/>
              </a:pPr>
              <a:r>
                <a:rPr lang="en-US" sz="900" dirty="0"/>
                <a:t>Syntactical </a:t>
              </a:r>
              <a:r>
                <a:rPr lang="en-US" sz="900" dirty="0" err="1"/>
                <a:t>standardisation</a:t>
              </a:r>
              <a:r>
                <a:rPr lang="en-US" sz="900" dirty="0"/>
                <a:t> and mapping services</a:t>
              </a:r>
              <a:br>
                <a:rPr lang="en-US" sz="900" dirty="0"/>
              </a:br>
              <a:r>
                <a:rPr lang="en-US" sz="900" dirty="0"/>
                <a:t>for AI-based </a:t>
              </a:r>
              <a:r>
                <a:rPr lang="en-US" sz="900" dirty="0" err="1"/>
                <a:t>optimisations</a:t>
              </a:r>
              <a:endParaRPr lang="en-US" sz="900" dirty="0"/>
            </a:p>
            <a:p>
              <a:pPr>
                <a:spcBef>
                  <a:spcPts val="600"/>
                </a:spcBef>
                <a:buFont typeface="Wingdings 3" panose="05040102010807070707" pitchFamily="18" charset="2"/>
                <a:buChar char=""/>
              </a:pPr>
              <a:endParaRPr lang="en-US" sz="900" dirty="0"/>
            </a:p>
            <a:p>
              <a:pPr>
                <a:spcBef>
                  <a:spcPts val="600"/>
                </a:spcBef>
                <a:buFont typeface="Wingdings 3" panose="05040102010807070707" pitchFamily="18" charset="2"/>
                <a:buChar char=""/>
              </a:pPr>
              <a:r>
                <a:rPr lang="en-US" sz="900" dirty="0"/>
                <a:t>Safety infrastructure (physical), security standards (digital)</a:t>
              </a:r>
            </a:p>
            <a:p>
              <a:pPr>
                <a:spcBef>
                  <a:spcPts val="600"/>
                </a:spcBef>
                <a:buFont typeface="Wingdings 3" panose="05040102010807070707" pitchFamily="18" charset="2"/>
                <a:buChar char=""/>
              </a:pPr>
              <a:endParaRPr lang="en-US" sz="900" dirty="0"/>
            </a:p>
            <a:p>
              <a:pPr>
                <a:spcBef>
                  <a:spcPts val="600"/>
                </a:spcBef>
                <a:buFont typeface="Wingdings 3" panose="05040102010807070707" pitchFamily="18" charset="2"/>
                <a:buChar char=""/>
              </a:pPr>
              <a:r>
                <a:rPr lang="en-US" sz="900" dirty="0"/>
                <a:t>Multi-modal, valves, pressure and filling-station standards</a:t>
              </a:r>
              <a:r>
                <a:rPr lang="en-US" sz="800" dirty="0"/>
                <a:t>…</a:t>
              </a:r>
              <a:endParaRPr lang="en-CH" sz="800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0573404-39D3-A272-A2E1-131795FE34D9}"/>
                </a:ext>
              </a:extLst>
            </p:cNvPr>
            <p:cNvSpPr/>
            <p:nvPr/>
          </p:nvSpPr>
          <p:spPr>
            <a:xfrm>
              <a:off x="594769" y="1232756"/>
              <a:ext cx="2737427" cy="84171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36000" rtlCol="0" anchor="ctr"/>
            <a:lstStyle/>
            <a:p>
              <a:r>
                <a:rPr lang="en-US" sz="1200" b="1" dirty="0"/>
                <a:t>1. </a:t>
              </a:r>
              <a:r>
                <a:rPr lang="en-US" sz="1200" b="1" dirty="0" err="1"/>
                <a:t>Organisational</a:t>
              </a:r>
              <a:endParaRPr lang="en-US" sz="1200" b="1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144D79F-9599-9720-88CE-DA9310A3ED60}"/>
                </a:ext>
              </a:extLst>
            </p:cNvPr>
            <p:cNvSpPr/>
            <p:nvPr/>
          </p:nvSpPr>
          <p:spPr>
            <a:xfrm>
              <a:off x="594769" y="2262039"/>
              <a:ext cx="2737427" cy="84171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36000" rtlCol="0" anchor="ctr"/>
            <a:lstStyle/>
            <a:p>
              <a:r>
                <a:rPr lang="en-US" sz="1200" b="1" dirty="0"/>
                <a:t>2. Processes &amp; Resources </a:t>
              </a:r>
              <a:br>
                <a:rPr lang="en-US" sz="1200" b="1" dirty="0"/>
              </a:br>
              <a:r>
                <a:rPr lang="en-US" sz="1200" dirty="0"/>
                <a:t>Application / Assets / HW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1710E0D-4412-1E67-6C99-D8F7E4EC3FDB}"/>
                </a:ext>
              </a:extLst>
            </p:cNvPr>
            <p:cNvSpPr/>
            <p:nvPr/>
          </p:nvSpPr>
          <p:spPr>
            <a:xfrm>
              <a:off x="594769" y="3291322"/>
              <a:ext cx="2737427" cy="84171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36000" rtlCol="0" anchor="ctr"/>
            <a:lstStyle/>
            <a:p>
              <a:r>
                <a:rPr lang="en-US" sz="1200" b="1" dirty="0"/>
                <a:t>3. Communication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2446EDA-020C-16E8-9293-51CC1A34D53A}"/>
                </a:ext>
              </a:extLst>
            </p:cNvPr>
            <p:cNvSpPr/>
            <p:nvPr/>
          </p:nvSpPr>
          <p:spPr>
            <a:xfrm>
              <a:off x="594769" y="4254965"/>
              <a:ext cx="2737427" cy="84171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36000" rtlCol="0" anchor="ctr"/>
            <a:lstStyle/>
            <a:p>
              <a:r>
                <a:rPr lang="en-US" sz="1200" b="1" dirty="0"/>
                <a:t>4. Data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9A3DF3D-FB91-5E6B-6B6F-D84CF1D9EE32}"/>
                </a:ext>
              </a:extLst>
            </p:cNvPr>
            <p:cNvSpPr/>
            <p:nvPr/>
          </p:nvSpPr>
          <p:spPr>
            <a:xfrm>
              <a:off x="594769" y="5218608"/>
              <a:ext cx="2737427" cy="841718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36000" rtlCol="0" anchor="ctr"/>
            <a:lstStyle/>
            <a:p>
              <a:r>
                <a:rPr lang="en-US" sz="1200" b="1" dirty="0"/>
                <a:t>5. Infrastructure Technology </a:t>
              </a:r>
            </a:p>
            <a:p>
              <a:r>
                <a:rPr lang="en-US" sz="1200" dirty="0"/>
                <a:t>(Assets, HW &amp; SW)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5D61239-EF04-4AE6-2256-E7CF353D85AF}"/>
                </a:ext>
              </a:extLst>
            </p:cNvPr>
            <p:cNvSpPr/>
            <p:nvPr/>
          </p:nvSpPr>
          <p:spPr>
            <a:xfrm>
              <a:off x="3731960" y="1205908"/>
              <a:ext cx="2413874" cy="36388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Ecosystem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988E548-FE19-1860-211A-93DC38114B5E}"/>
                </a:ext>
              </a:extLst>
            </p:cNvPr>
            <p:cNvSpPr/>
            <p:nvPr/>
          </p:nvSpPr>
          <p:spPr>
            <a:xfrm>
              <a:off x="3731960" y="1696522"/>
              <a:ext cx="2413874" cy="36388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Legal / Regulatory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64E9678-1E43-5DAD-72D8-4E161752A6FD}"/>
                </a:ext>
              </a:extLst>
            </p:cNvPr>
            <p:cNvCxnSpPr>
              <a:cxnSpLocks/>
              <a:stCxn id="14" idx="1"/>
            </p:cNvCxnSpPr>
            <p:nvPr/>
          </p:nvCxnSpPr>
          <p:spPr>
            <a:xfrm flipH="1">
              <a:off x="3339057" y="1387851"/>
              <a:ext cx="392903" cy="26576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49FD0D5-AC56-7968-313A-73768EC94CE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320112" y="1653615"/>
              <a:ext cx="392902" cy="20058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F340E11-D893-7EEF-4056-05F989401DF5}"/>
                </a:ext>
              </a:extLst>
            </p:cNvPr>
            <p:cNvSpPr/>
            <p:nvPr/>
          </p:nvSpPr>
          <p:spPr>
            <a:xfrm>
              <a:off x="3713015" y="2269663"/>
              <a:ext cx="2413875" cy="36388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Customer-facing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67E851B-F951-16D5-A846-9CDB8BD9324B}"/>
                </a:ext>
              </a:extLst>
            </p:cNvPr>
            <p:cNvSpPr/>
            <p:nvPr/>
          </p:nvSpPr>
          <p:spPr>
            <a:xfrm>
              <a:off x="3713015" y="2760277"/>
              <a:ext cx="2413875" cy="36388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Service Provider-facing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6736400-F9BC-798D-7F0C-A467A68C1FD5}"/>
                </a:ext>
              </a:extLst>
            </p:cNvPr>
            <p:cNvCxnSpPr>
              <a:cxnSpLocks/>
              <a:stCxn id="18" idx="1"/>
            </p:cNvCxnSpPr>
            <p:nvPr/>
          </p:nvCxnSpPr>
          <p:spPr>
            <a:xfrm flipH="1">
              <a:off x="3321462" y="2451607"/>
              <a:ext cx="391553" cy="26576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D56D405-3C85-CAAA-0B6B-60ECC10A0648}"/>
                </a:ext>
              </a:extLst>
            </p:cNvPr>
            <p:cNvCxnSpPr>
              <a:cxnSpLocks/>
              <a:stCxn id="19" idx="1"/>
            </p:cNvCxnSpPr>
            <p:nvPr/>
          </p:nvCxnSpPr>
          <p:spPr>
            <a:xfrm flipH="1" flipV="1">
              <a:off x="3321462" y="2703304"/>
              <a:ext cx="391553" cy="23891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5BD74C4-A898-B927-AEDE-46C98CC0E5D8}"/>
                </a:ext>
              </a:extLst>
            </p:cNvPr>
            <p:cNvSpPr/>
            <p:nvPr/>
          </p:nvSpPr>
          <p:spPr>
            <a:xfrm>
              <a:off x="3713015" y="5169953"/>
              <a:ext cx="2413875" cy="36388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Security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F537AA32-9E9F-DF8C-6170-A12CDCC08F95}"/>
                </a:ext>
              </a:extLst>
            </p:cNvPr>
            <p:cNvSpPr/>
            <p:nvPr/>
          </p:nvSpPr>
          <p:spPr>
            <a:xfrm>
              <a:off x="3713015" y="5691590"/>
              <a:ext cx="2413875" cy="36388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Technical Infrastructure</a:t>
              </a: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0D2E0DF6-4E54-307B-350D-A48CFA030544}"/>
                </a:ext>
              </a:extLst>
            </p:cNvPr>
            <p:cNvCxnSpPr>
              <a:cxnSpLocks/>
              <a:stCxn id="29" idx="1"/>
            </p:cNvCxnSpPr>
            <p:nvPr/>
          </p:nvCxnSpPr>
          <p:spPr>
            <a:xfrm flipH="1">
              <a:off x="3321462" y="5351897"/>
              <a:ext cx="391553" cy="26576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69D0489-6F6D-7B1C-A0CF-BC1035D2A271}"/>
                </a:ext>
              </a:extLst>
            </p:cNvPr>
            <p:cNvCxnSpPr>
              <a:cxnSpLocks/>
              <a:stCxn id="30" idx="1"/>
            </p:cNvCxnSpPr>
            <p:nvPr/>
          </p:nvCxnSpPr>
          <p:spPr>
            <a:xfrm flipH="1" flipV="1">
              <a:off x="3321462" y="5634617"/>
              <a:ext cx="391553" cy="23891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B428C76-C6D1-4106-26FC-524A77036C26}"/>
                </a:ext>
              </a:extLst>
            </p:cNvPr>
            <p:cNvSpPr txBox="1"/>
            <p:nvPr/>
          </p:nvSpPr>
          <p:spPr>
            <a:xfrm>
              <a:off x="1425708" y="836577"/>
              <a:ext cx="996404" cy="437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/>
                <a:t>Levels: 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EF6E829-7633-732C-9021-391C0A53136D}"/>
                </a:ext>
              </a:extLst>
            </p:cNvPr>
            <p:cNvSpPr txBox="1"/>
            <p:nvPr/>
          </p:nvSpPr>
          <p:spPr>
            <a:xfrm>
              <a:off x="4445381" y="806265"/>
              <a:ext cx="833735" cy="743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/>
                <a:t>Views: 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4E031B80-1F3E-5EC6-F5D2-967B2C7C4FC8}"/>
                </a:ext>
              </a:extLst>
            </p:cNvPr>
            <p:cNvSpPr/>
            <p:nvPr/>
          </p:nvSpPr>
          <p:spPr>
            <a:xfrm>
              <a:off x="3731962" y="3538453"/>
              <a:ext cx="2413875" cy="36388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Protocols / Connections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5AB5EC84-1D8E-5036-C063-DAE663DAA60B}"/>
                </a:ext>
              </a:extLst>
            </p:cNvPr>
            <p:cNvCxnSpPr>
              <a:cxnSpLocks/>
              <a:endCxn id="35" idx="1"/>
            </p:cNvCxnSpPr>
            <p:nvPr/>
          </p:nvCxnSpPr>
          <p:spPr>
            <a:xfrm>
              <a:off x="3320112" y="3712181"/>
              <a:ext cx="411850" cy="821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61A728E-2BF4-F027-4FD3-D4677C7ECD42}"/>
                </a:ext>
              </a:extLst>
            </p:cNvPr>
            <p:cNvSpPr/>
            <p:nvPr/>
          </p:nvSpPr>
          <p:spPr>
            <a:xfrm>
              <a:off x="3732788" y="4205774"/>
              <a:ext cx="2413875" cy="36388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Semantics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EFD45B1-AA63-838A-80DC-B343AABE86B6}"/>
                </a:ext>
              </a:extLst>
            </p:cNvPr>
            <p:cNvSpPr/>
            <p:nvPr/>
          </p:nvSpPr>
          <p:spPr>
            <a:xfrm>
              <a:off x="3732788" y="4696388"/>
              <a:ext cx="2413875" cy="36388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/>
                <a:t>Syntax</a:t>
              </a: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3DBDA7-71D8-291A-4A52-C67E967C2DE3}"/>
                </a:ext>
              </a:extLst>
            </p:cNvPr>
            <p:cNvCxnSpPr>
              <a:cxnSpLocks/>
              <a:stCxn id="37" idx="1"/>
            </p:cNvCxnSpPr>
            <p:nvPr/>
          </p:nvCxnSpPr>
          <p:spPr>
            <a:xfrm flipH="1">
              <a:off x="3341235" y="4387718"/>
              <a:ext cx="391553" cy="26576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E7604929-F836-EB94-4ADF-24D7AA999CFC}"/>
                </a:ext>
              </a:extLst>
            </p:cNvPr>
            <p:cNvCxnSpPr>
              <a:cxnSpLocks/>
              <a:stCxn id="38" idx="1"/>
            </p:cNvCxnSpPr>
            <p:nvPr/>
          </p:nvCxnSpPr>
          <p:spPr>
            <a:xfrm flipH="1" flipV="1">
              <a:off x="3341235" y="4639415"/>
              <a:ext cx="391553" cy="23891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95AC386-F869-B3BB-DD28-557ECE320A35}"/>
                </a:ext>
              </a:extLst>
            </p:cNvPr>
            <p:cNvSpPr txBox="1"/>
            <p:nvPr/>
          </p:nvSpPr>
          <p:spPr>
            <a:xfrm>
              <a:off x="663133" y="6183250"/>
              <a:ext cx="8746728" cy="268952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r>
                <a:rPr lang="en-US" sz="600" dirty="0">
                  <a:solidFill>
                    <a:srgbClr val="939598"/>
                  </a:solidFill>
                </a:rPr>
                <a:t>Source:  adapted from Nair/Klüber (2020) DIGITAL CONTACT TRACING INTEROPERABILITY: BALANCING PRIVACY AND PUBLIC HEALTH CONCERNS TO FIGHT COVID-19, In Diplomatic Courier (25.09.2020) </a:t>
              </a:r>
              <a:br>
                <a:rPr lang="en-US" sz="600" dirty="0">
                  <a:solidFill>
                    <a:srgbClr val="939598"/>
                  </a:solidFill>
                </a:rPr>
              </a:br>
              <a:r>
                <a:rPr lang="en-US" sz="600" dirty="0">
                  <a:solidFill>
                    <a:srgbClr val="939598"/>
                  </a:solidFill>
                </a:rPr>
                <a:t>https://www.diplomaticourier.com/posts/digital-contact-tracing-interoperability-balancing-privacy-and-public-health-concerns-to-fight-covid-19</a:t>
              </a:r>
            </a:p>
          </p:txBody>
        </p:sp>
        <p:sp>
          <p:nvSpPr>
            <p:cNvPr id="42" name="Content Placeholder 2">
              <a:extLst>
                <a:ext uri="{FF2B5EF4-FFF2-40B4-BE49-F238E27FC236}">
                  <a16:creationId xmlns:a16="http://schemas.microsoft.com/office/drawing/2014/main" id="{4EA97D19-546A-B334-A545-14006E7E222F}"/>
                </a:ext>
              </a:extLst>
            </p:cNvPr>
            <p:cNvSpPr txBox="1">
              <a:spLocks/>
            </p:cNvSpPr>
            <p:nvPr/>
          </p:nvSpPr>
          <p:spPr>
            <a:xfrm>
              <a:off x="9752256" y="1232756"/>
              <a:ext cx="2070492" cy="482272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indent="-180975">
                <a:buFont typeface="+mj-lt"/>
                <a:buAutoNum type="arabicPeriod"/>
              </a:pPr>
              <a:r>
                <a:rPr lang="en-GB" sz="900" dirty="0"/>
                <a:t>Identify open and willing to act business-public-ecosystem (geographic/modality</a:t>
              </a:r>
              <a:br>
                <a:rPr lang="en-GB" sz="900" dirty="0"/>
              </a:br>
              <a:r>
                <a:rPr lang="en-GB" sz="900" dirty="0"/>
                <a:t>improvement scope)</a:t>
              </a:r>
            </a:p>
            <a:p>
              <a:pPr marL="180975" indent="-180975">
                <a:buFont typeface="+mj-lt"/>
                <a:buAutoNum type="arabicPeriod"/>
              </a:pPr>
              <a:r>
                <a:rPr lang="en-GB" sz="900" dirty="0"/>
                <a:t>Assess interoperability inefficiencies (partner, governance, communication, legal, data, physical, IT systems, etc.)</a:t>
              </a:r>
            </a:p>
            <a:p>
              <a:pPr marL="180975" indent="-180975">
                <a:buFont typeface="+mj-lt"/>
                <a:buAutoNum type="arabicPeriod"/>
              </a:pPr>
              <a:r>
                <a:rPr lang="en-GB" sz="900" dirty="0"/>
                <a:t>Provide recommendations to overcome deficits via effective interventions</a:t>
              </a:r>
            </a:p>
            <a:p>
              <a:pPr marL="180975" indent="-180975">
                <a:buFont typeface="+mj-lt"/>
                <a:buAutoNum type="arabicPeriod"/>
              </a:pPr>
              <a:r>
                <a:rPr lang="en-GB" sz="900" dirty="0"/>
                <a:t>Identify pilot project</a:t>
              </a:r>
            </a:p>
            <a:p>
              <a:pPr marL="180975" indent="-180975">
                <a:buFont typeface="+mj-lt"/>
                <a:buAutoNum type="arabicPeriod"/>
              </a:pPr>
              <a:r>
                <a:rPr lang="en-GB" sz="900" dirty="0"/>
                <a:t>Manage pilot project</a:t>
              </a:r>
            </a:p>
            <a:p>
              <a:pPr marL="180975" indent="-180975">
                <a:buFont typeface="+mj-lt"/>
                <a:buAutoNum type="arabicPeriod"/>
              </a:pPr>
              <a:r>
                <a:rPr lang="en-GB" sz="900" dirty="0"/>
                <a:t>Scale to full complexity / regional scope</a:t>
              </a:r>
            </a:p>
            <a:p>
              <a:pPr marL="180975" indent="-180975">
                <a:buFont typeface="+mj-lt"/>
                <a:buAutoNum type="arabicPeriod"/>
              </a:pPr>
              <a:r>
                <a:rPr lang="en-GB" sz="900" dirty="0"/>
                <a:t>Embed learning &amp; adaptation mechanisms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442AC958-2BDC-7A64-EFB9-01310995B957}"/>
                </a:ext>
              </a:extLst>
            </p:cNvPr>
            <p:cNvSpPr txBox="1"/>
            <p:nvPr/>
          </p:nvSpPr>
          <p:spPr>
            <a:xfrm>
              <a:off x="6311718" y="814846"/>
              <a:ext cx="3202876" cy="4371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/>
                <a:t>Key Interoperability Objects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893495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BED8-2E10-E005-DC82-713195D10B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648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D6F1D3-3267-DC9E-89CC-013BE085F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hank you for your participation</a:t>
            </a:r>
          </a:p>
        </p:txBody>
      </p:sp>
    </p:spTree>
    <p:extLst>
      <p:ext uri="{BB962C8B-B14F-4D97-AF65-F5344CB8AC3E}">
        <p14:creationId xmlns:p14="http://schemas.microsoft.com/office/powerpoint/2010/main" val="7306886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3F846CD-BC10-BC86-0B51-1F286CBAFE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8248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B6A1D-7B00-F2A9-226A-3195855F6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6284A3DF-976F-4783-871F-08DE6E0D6334}" type="datetime'Agenda'">
              <a:rPr lang="en-GB" altLang="en-US" sz="3600" b="1" smtClean="0">
                <a:effectLst/>
              </a:rPr>
              <a:pPr/>
              <a:t>Agenda</a:t>
            </a:fld>
            <a:endParaRPr lang="en-GB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1E815B0-B91C-15BB-20F1-1A12D49AC76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354263" y="1933575"/>
            <a:ext cx="3559175" cy="457200"/>
          </a:xfrm>
          <a:prstGeom prst="rect">
            <a:avLst/>
          </a:prstGeom>
          <a:solidFill>
            <a:schemeClr val="accent6"/>
          </a:solidFill>
          <a:ln w="381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2075" tIns="92075" rIns="0" bIns="90488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b="1" dirty="0"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kshop: Telematics Freight</a:t>
            </a:r>
            <a:endParaRPr lang="en-GB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7" name="Rectangle 6">
            <a:hlinkClick r:id="rId8" action="ppaction://hlinksldjump"/>
            <a:extLst>
              <a:ext uri="{FF2B5EF4-FFF2-40B4-BE49-F238E27FC236}">
                <a16:creationId xmlns:a16="http://schemas.microsoft.com/office/drawing/2014/main" id="{E2C35A66-FE80-B5F3-0D69-B4925E8EDD9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354263" y="2390775"/>
            <a:ext cx="3559175" cy="457200"/>
          </a:xfrm>
          <a:prstGeom prst="rect">
            <a:avLst/>
          </a:prstGeom>
          <a:noFill/>
          <a:ln w="381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2075" tIns="92075" rIns="0" bIns="90488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ck-up</a:t>
            </a:r>
            <a:endParaRPr lang="en-GB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89396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68A4E61-E1D1-8410-37BE-2A3FB132CA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4230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 descr="A logo with blue and green rectangles&#10;&#10;Description automatically generated">
            <a:extLst>
              <a:ext uri="{FF2B5EF4-FFF2-40B4-BE49-F238E27FC236}">
                <a16:creationId xmlns:a16="http://schemas.microsoft.com/office/drawing/2014/main" id="{73C7B3D8-E3D8-2AE5-9856-1F1AD9571E2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278" y="1700972"/>
            <a:ext cx="657225" cy="52578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76AB858-ADC7-A59D-6061-1F5B0DBE33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73016"/>
          </a:xfrm>
        </p:spPr>
        <p:txBody>
          <a:bodyPr vert="horz"/>
          <a:lstStyle/>
          <a:p>
            <a:r>
              <a:rPr lang="en-GB" sz="3600" b="1" dirty="0"/>
              <a:t>Meeting Cascading Requirements Challeng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588B64-38E8-9CFA-4D05-EA1CB17552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4CB91-F481-16B7-D131-315FEDE919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ACE915B-6E14-F57C-CC9B-FB560A82D24D}"/>
              </a:ext>
            </a:extLst>
          </p:cNvPr>
          <p:cNvSpPr txBox="1"/>
          <p:nvPr/>
        </p:nvSpPr>
        <p:spPr>
          <a:xfrm>
            <a:off x="4498560" y="2426620"/>
            <a:ext cx="3609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Freight Forwarders’ Requirements</a:t>
            </a:r>
            <a:r>
              <a:rPr lang="en-GB" baseline="30000" dirty="0"/>
              <a:t>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69C4C38-E724-6ADF-4CA2-08670DA97E13}"/>
              </a:ext>
            </a:extLst>
          </p:cNvPr>
          <p:cNvSpPr txBox="1"/>
          <p:nvPr/>
        </p:nvSpPr>
        <p:spPr>
          <a:xfrm>
            <a:off x="745249" y="2426620"/>
            <a:ext cx="2523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hippers’ Requirement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3A936EB-ED20-F715-DA58-4DF4E84778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78873" y="6308207"/>
            <a:ext cx="611078" cy="369333"/>
          </a:xfrm>
          <a:prstGeom prst="rect">
            <a:avLst/>
          </a:prstGeom>
        </p:spPr>
      </p:pic>
      <p:sp>
        <p:nvSpPr>
          <p:cNvPr id="20" name="Arrow: Right 19">
            <a:extLst>
              <a:ext uri="{FF2B5EF4-FFF2-40B4-BE49-F238E27FC236}">
                <a16:creationId xmlns:a16="http://schemas.microsoft.com/office/drawing/2014/main" id="{FD248880-F699-9558-A204-B3341910F816}"/>
              </a:ext>
            </a:extLst>
          </p:cNvPr>
          <p:cNvSpPr/>
          <p:nvPr/>
        </p:nvSpPr>
        <p:spPr>
          <a:xfrm>
            <a:off x="3697725" y="2502327"/>
            <a:ext cx="371742" cy="217918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79A33CD0-482F-7B15-105C-A890D09C4458}"/>
              </a:ext>
            </a:extLst>
          </p:cNvPr>
          <p:cNvSpPr/>
          <p:nvPr/>
        </p:nvSpPr>
        <p:spPr>
          <a:xfrm>
            <a:off x="8401424" y="2502327"/>
            <a:ext cx="371742" cy="217918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FEB505D-47D3-492D-8339-9463A015F150}"/>
              </a:ext>
            </a:extLst>
          </p:cNvPr>
          <p:cNvSpPr txBox="1"/>
          <p:nvPr/>
        </p:nvSpPr>
        <p:spPr>
          <a:xfrm>
            <a:off x="9202261" y="2426620"/>
            <a:ext cx="20966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Rail freight servic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CF3C0F-EEB1-0717-7795-5AC6DE7E7DD4}"/>
              </a:ext>
            </a:extLst>
          </p:cNvPr>
          <p:cNvSpPr/>
          <p:nvPr/>
        </p:nvSpPr>
        <p:spPr>
          <a:xfrm>
            <a:off x="803305" y="1038142"/>
            <a:ext cx="10391686" cy="30836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Regulators on EU and national leve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02399B-8570-7C75-1F68-4718EF38E653}"/>
              </a:ext>
            </a:extLst>
          </p:cNvPr>
          <p:cNvSpPr txBox="1"/>
          <p:nvPr/>
        </p:nvSpPr>
        <p:spPr>
          <a:xfrm>
            <a:off x="6319414" y="5857965"/>
            <a:ext cx="5827557" cy="90024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23888"/>
            <a:r>
              <a:rPr lang="en-GB" sz="1050" dirty="0"/>
              <a:t>Sources:	</a:t>
            </a:r>
            <a:r>
              <a:rPr lang="en-GB" sz="1050" baseline="30000" dirty="0"/>
              <a:t>1</a:t>
            </a:r>
            <a:r>
              <a:rPr lang="en-GB" sz="1050" dirty="0"/>
              <a:t> https://europeanshippers.eu/policies/rail-transport/</a:t>
            </a:r>
          </a:p>
          <a:p>
            <a:pPr defTabSz="623888"/>
            <a:r>
              <a:rPr lang="en-GB" sz="1050" dirty="0"/>
              <a:t>	</a:t>
            </a:r>
            <a:r>
              <a:rPr lang="en-GB" sz="1050" baseline="30000" dirty="0"/>
              <a:t>2</a:t>
            </a:r>
            <a:r>
              <a:rPr lang="en-GB" sz="1050" dirty="0"/>
              <a:t> Own consulting practice experience</a:t>
            </a:r>
          </a:p>
          <a:p>
            <a:pPr defTabSz="623888"/>
            <a:r>
              <a:rPr lang="en-GB" sz="1050" dirty="0"/>
              <a:t>	</a:t>
            </a:r>
            <a:r>
              <a:rPr lang="en-GB" sz="1050" baseline="30000" dirty="0"/>
              <a:t>3</a:t>
            </a:r>
            <a:r>
              <a:rPr lang="en-GB" sz="1050" dirty="0"/>
              <a:t>  https://www.europarl.europa.eu/RegData/etudes/BRIE/2023/757562/</a:t>
            </a:r>
            <a:br>
              <a:rPr lang="en-GB" sz="1050" dirty="0"/>
            </a:br>
            <a:r>
              <a:rPr lang="en-GB" sz="1050" dirty="0"/>
              <a:t>                     EPRS_BRI(2023)757562_EN.pdf</a:t>
            </a:r>
          </a:p>
          <a:p>
            <a:pPr defTabSz="623888"/>
            <a:r>
              <a:rPr lang="en-GB" sz="1050" dirty="0"/>
              <a:t>	</a:t>
            </a:r>
            <a:r>
              <a:rPr lang="en-GB" sz="1050" baseline="30000" dirty="0"/>
              <a:t>4</a:t>
            </a:r>
            <a:r>
              <a:rPr lang="en-GB" sz="1050" dirty="0"/>
              <a:t> </a:t>
            </a:r>
            <a:r>
              <a:rPr lang="en-US" sz="1050" dirty="0"/>
              <a:t>ECTA. (2021). ECTA Best Practice Guideline: Transport visibility within Bulk Chemicals. </a:t>
            </a:r>
            <a:endParaRPr lang="en-GB" sz="105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E1199D3-AB98-85A2-7257-0DA14F7FC92A}"/>
              </a:ext>
            </a:extLst>
          </p:cNvPr>
          <p:cNvSpPr txBox="1"/>
          <p:nvPr/>
        </p:nvSpPr>
        <p:spPr>
          <a:xfrm>
            <a:off x="679346" y="3197950"/>
            <a:ext cx="36275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9875" indent="-269875">
              <a:buFont typeface="+mj-lt"/>
              <a:buAutoNum type="arabicPeriod"/>
            </a:pPr>
            <a:r>
              <a:rPr lang="en-GB" sz="1600" dirty="0"/>
              <a:t>Reliable international transports</a:t>
            </a:r>
            <a:r>
              <a:rPr lang="en-GB" sz="1600" baseline="30000" dirty="0"/>
              <a:t>1</a:t>
            </a:r>
          </a:p>
          <a:p>
            <a:pPr marL="269875" indent="-269875">
              <a:buFont typeface="+mj-lt"/>
              <a:buAutoNum type="arabicPeriod"/>
            </a:pPr>
            <a:r>
              <a:rPr lang="en-GB" sz="1600" dirty="0"/>
              <a:t>Price competitiveness</a:t>
            </a:r>
            <a:r>
              <a:rPr lang="en-GB" sz="1600" baseline="30000" dirty="0"/>
              <a:t>1</a:t>
            </a:r>
          </a:p>
          <a:p>
            <a:pPr marL="269875" indent="-269875">
              <a:buFont typeface="+mj-lt"/>
              <a:buAutoNum type="arabicPeriod"/>
            </a:pPr>
            <a:r>
              <a:rPr lang="en-GB" sz="1600" dirty="0"/>
              <a:t>Responsiveness to planning requests</a:t>
            </a:r>
            <a:r>
              <a:rPr lang="en-GB" sz="1600" baseline="30000" dirty="0"/>
              <a:t>1</a:t>
            </a:r>
          </a:p>
          <a:p>
            <a:pPr marL="269875" indent="-269875">
              <a:buFont typeface="+mj-lt"/>
              <a:buAutoNum type="arabicPeriod"/>
            </a:pPr>
            <a:r>
              <a:rPr lang="en-GB" sz="1600" dirty="0"/>
              <a:t>Standardised, complete &amp; actual information</a:t>
            </a:r>
            <a:r>
              <a:rPr lang="en-GB" sz="1600" baseline="30000" dirty="0"/>
              <a:t>1</a:t>
            </a:r>
            <a:r>
              <a:rPr lang="en-GB" sz="1600" dirty="0"/>
              <a:t> </a:t>
            </a:r>
            <a:r>
              <a:rPr lang="en-GB" sz="1600" baseline="30000" dirty="0"/>
              <a:t>2</a:t>
            </a:r>
          </a:p>
          <a:p>
            <a:pPr marL="269875" indent="-269875">
              <a:buFont typeface="+mj-lt"/>
              <a:buAutoNum type="arabicPeriod"/>
            </a:pPr>
            <a:r>
              <a:rPr lang="en-GB" sz="1600" dirty="0"/>
              <a:t>Greening freight (e.g. </a:t>
            </a:r>
            <a:r>
              <a:rPr lang="en-GB" sz="1600" dirty="0" err="1"/>
              <a:t>CountEmissionsEU</a:t>
            </a:r>
            <a:r>
              <a:rPr lang="en-GB" sz="1600" dirty="0"/>
              <a:t>)</a:t>
            </a:r>
            <a:r>
              <a:rPr lang="en-GB" sz="1600" baseline="30000" dirty="0"/>
              <a:t>2,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F7717A-4640-37CD-EFBB-D22EB07E28A2}"/>
              </a:ext>
            </a:extLst>
          </p:cNvPr>
          <p:cNvSpPr txBox="1"/>
          <p:nvPr/>
        </p:nvSpPr>
        <p:spPr>
          <a:xfrm>
            <a:off x="4449679" y="3159085"/>
            <a:ext cx="403133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9875" indent="-269875">
              <a:buFont typeface="+mj-lt"/>
              <a:buAutoNum type="arabicPeriod"/>
              <a:tabLst>
                <a:tab pos="269875" algn="l"/>
              </a:tabLst>
            </a:pPr>
            <a:r>
              <a:rPr lang="en-GB" sz="1600" dirty="0"/>
              <a:t>Supply chain visibility</a:t>
            </a:r>
          </a:p>
          <a:p>
            <a:pPr marL="269875" indent="-269875">
              <a:buFont typeface="+mj-lt"/>
              <a:buAutoNum type="arabicPeriod"/>
              <a:tabLst>
                <a:tab pos="269875" algn="l"/>
              </a:tabLst>
            </a:pPr>
            <a:r>
              <a:rPr lang="en-GB" sz="1600" dirty="0"/>
              <a:t>Improved interoperability between modes &amp; stakeholders</a:t>
            </a:r>
          </a:p>
          <a:p>
            <a:pPr marL="269875" indent="-269875">
              <a:buFont typeface="+mj-lt"/>
              <a:buAutoNum type="arabicPeriod"/>
              <a:tabLst>
                <a:tab pos="269875" algn="l"/>
              </a:tabLst>
            </a:pPr>
            <a:r>
              <a:rPr lang="en-GB" sz="1600" dirty="0"/>
              <a:t>Data sharing &amp; quality (accuracy, timeliness)</a:t>
            </a:r>
          </a:p>
          <a:p>
            <a:pPr marL="269875" indent="-269875">
              <a:buFont typeface="+mj-lt"/>
              <a:buAutoNum type="arabicPeriod"/>
              <a:tabLst>
                <a:tab pos="269875" algn="l"/>
              </a:tabLst>
            </a:pPr>
            <a:r>
              <a:rPr lang="en-GB" sz="1600" dirty="0"/>
              <a:t>Standardised KPIs &amp; reporting on punctuality &amp; quality</a:t>
            </a:r>
          </a:p>
          <a:p>
            <a:pPr marL="269875" indent="-269875">
              <a:buFont typeface="+mj-lt"/>
              <a:buAutoNum type="arabicPeriod"/>
              <a:tabLst>
                <a:tab pos="269875" algn="l"/>
              </a:tabLst>
            </a:pPr>
            <a:r>
              <a:rPr lang="en-GB" sz="1600" dirty="0"/>
              <a:t>Standardised exception &amp; prevention management</a:t>
            </a:r>
          </a:p>
        </p:txBody>
      </p:sp>
      <p:pic>
        <p:nvPicPr>
          <p:cNvPr id="9" name="Picture 8" descr="A white building with many square windows&#10;&#10;Description automatically generated">
            <a:extLst>
              <a:ext uri="{FF2B5EF4-FFF2-40B4-BE49-F238E27FC236}">
                <a16:creationId xmlns:a16="http://schemas.microsoft.com/office/drawing/2014/main" id="{3D62A83B-FADD-3C78-DEC8-1885F6F8E3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5084" y="1891433"/>
            <a:ext cx="556261" cy="480061"/>
          </a:xfrm>
          <a:prstGeom prst="rect">
            <a:avLst/>
          </a:prstGeom>
        </p:spPr>
      </p:pic>
      <p:pic>
        <p:nvPicPr>
          <p:cNvPr id="11" name="Picture 10" descr="A silhouette of a train&#10;&#10;Description automatically generated">
            <a:extLst>
              <a:ext uri="{FF2B5EF4-FFF2-40B4-BE49-F238E27FC236}">
                <a16:creationId xmlns:a16="http://schemas.microsoft.com/office/drawing/2014/main" id="{775BFC11-26D3-0FFE-0153-1FFF9C84C40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8178" y="2078885"/>
            <a:ext cx="1524765" cy="292609"/>
          </a:xfrm>
          <a:prstGeom prst="rect">
            <a:avLst/>
          </a:prstGeom>
        </p:spPr>
      </p:pic>
      <p:pic>
        <p:nvPicPr>
          <p:cNvPr id="15" name="Picture 14" descr="A black and white image of buildings&#10;&#10;Description automatically generated">
            <a:extLst>
              <a:ext uri="{FF2B5EF4-FFF2-40B4-BE49-F238E27FC236}">
                <a16:creationId xmlns:a16="http://schemas.microsoft.com/office/drawing/2014/main" id="{A4C02800-E4A3-68E9-F31E-9930B15EF5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574" y="1802126"/>
            <a:ext cx="960732" cy="569368"/>
          </a:xfrm>
          <a:prstGeom prst="rect">
            <a:avLst/>
          </a:prstGeom>
        </p:spPr>
      </p:pic>
      <p:sp>
        <p:nvSpPr>
          <p:cNvPr id="12" name="Arrow: Up-Down 11">
            <a:extLst>
              <a:ext uri="{FF2B5EF4-FFF2-40B4-BE49-F238E27FC236}">
                <a16:creationId xmlns:a16="http://schemas.microsoft.com/office/drawing/2014/main" id="{8049DE5B-AE7A-E759-F6A9-9F9EE7B7E384}"/>
              </a:ext>
            </a:extLst>
          </p:cNvPr>
          <p:cNvSpPr/>
          <p:nvPr/>
        </p:nvSpPr>
        <p:spPr>
          <a:xfrm rot="17418965">
            <a:off x="8424736" y="929895"/>
            <a:ext cx="123371" cy="1620000"/>
          </a:xfrm>
          <a:prstGeom prst="upDownArrow">
            <a:avLst/>
          </a:prstGeom>
          <a:solidFill>
            <a:srgbClr val="9C262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Arrow: Up-Down 12">
            <a:extLst>
              <a:ext uri="{FF2B5EF4-FFF2-40B4-BE49-F238E27FC236}">
                <a16:creationId xmlns:a16="http://schemas.microsoft.com/office/drawing/2014/main" id="{DDDBA7BD-C9A5-BD10-AFFE-AF46A3F94B1B}"/>
              </a:ext>
            </a:extLst>
          </p:cNvPr>
          <p:cNvSpPr/>
          <p:nvPr/>
        </p:nvSpPr>
        <p:spPr>
          <a:xfrm rot="4181035" flipH="1">
            <a:off x="3491332" y="929895"/>
            <a:ext cx="123371" cy="1620000"/>
          </a:xfrm>
          <a:prstGeom prst="upDownArrow">
            <a:avLst/>
          </a:prstGeom>
          <a:solidFill>
            <a:srgbClr val="9C262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Arrow: Up-Down 13">
            <a:extLst>
              <a:ext uri="{FF2B5EF4-FFF2-40B4-BE49-F238E27FC236}">
                <a16:creationId xmlns:a16="http://schemas.microsoft.com/office/drawing/2014/main" id="{0974D006-DEEB-4782-008E-A1CB1B15C794}"/>
              </a:ext>
            </a:extLst>
          </p:cNvPr>
          <p:cNvSpPr/>
          <p:nvPr/>
        </p:nvSpPr>
        <p:spPr>
          <a:xfrm rot="10800000">
            <a:off x="5944174" y="1413486"/>
            <a:ext cx="123371" cy="388800"/>
          </a:xfrm>
          <a:prstGeom prst="upDownArrow">
            <a:avLst/>
          </a:prstGeom>
          <a:solidFill>
            <a:srgbClr val="9C262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2" name="Picture 31" descr="A blue and white logo&#10;&#10;Description automatically generated">
            <a:extLst>
              <a:ext uri="{FF2B5EF4-FFF2-40B4-BE49-F238E27FC236}">
                <a16:creationId xmlns:a16="http://schemas.microsoft.com/office/drawing/2014/main" id="{20D0766C-A939-01D9-7CD7-2A6F762F3C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4056" y="1959593"/>
            <a:ext cx="740664" cy="33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4242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68A4E61-E1D1-8410-37BE-2A3FB132CA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8A4E61-E1D1-8410-37BE-2A3FB132C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76AB858-ADC7-A59D-6061-1F5B0DBE33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73016"/>
          </a:xfrm>
        </p:spPr>
        <p:txBody>
          <a:bodyPr vert="horz"/>
          <a:lstStyle/>
          <a:p>
            <a:r>
              <a:rPr lang="en-GB" sz="3600" b="1" dirty="0"/>
              <a:t>Meeting Cascading Requirements Challeng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588B64-38E8-9CFA-4D05-EA1CB17552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dirty="0"/>
              <a:t>19/06/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14CB91-F481-16B7-D131-315FEDE919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UIRR @ Rail Data Foru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31259E3-5982-0616-7039-F822B04343B8}"/>
              </a:ext>
            </a:extLst>
          </p:cNvPr>
          <p:cNvSpPr txBox="1"/>
          <p:nvPr/>
        </p:nvSpPr>
        <p:spPr>
          <a:xfrm>
            <a:off x="3656586" y="1954513"/>
            <a:ext cx="2154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TOs’ Requirement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3A936EB-ED20-F715-DA58-4DF4E84778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5276" y="6331646"/>
            <a:ext cx="611078" cy="369333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FEB505D-47D3-492D-8339-9463A015F150}"/>
              </a:ext>
            </a:extLst>
          </p:cNvPr>
          <p:cNvSpPr txBox="1"/>
          <p:nvPr/>
        </p:nvSpPr>
        <p:spPr>
          <a:xfrm>
            <a:off x="9488681" y="1647250"/>
            <a:ext cx="20966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Rail freight servic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FD8AD75-2079-5167-C4C4-1D189508A5F8}"/>
              </a:ext>
            </a:extLst>
          </p:cNvPr>
          <p:cNvSpPr txBox="1"/>
          <p:nvPr/>
        </p:nvSpPr>
        <p:spPr>
          <a:xfrm>
            <a:off x="2875990" y="2525438"/>
            <a:ext cx="6327101" cy="24468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36000" rIns="36000" rtlCol="0">
            <a:spAutoFit/>
          </a:bodyPr>
          <a:lstStyle/>
          <a:p>
            <a:r>
              <a:rPr lang="en-GB" sz="1700" dirty="0"/>
              <a:t>from </a:t>
            </a:r>
            <a:r>
              <a:rPr lang="en-GB" sz="1700" b="1" dirty="0"/>
              <a:t>EDICT</a:t>
            </a:r>
            <a:r>
              <a:rPr lang="en-GB" sz="1700" dirty="0"/>
              <a:t> project: 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n-GB" sz="1700" dirty="0"/>
              <a:t>Standardisation of time stamps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n-GB" sz="1700" dirty="0"/>
              <a:t>Synchronisation between CT and rail systems (terminals)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n-GB" sz="1700" dirty="0"/>
              <a:t>Recognition of CTOs as legitimate actors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n-GB" sz="1700" dirty="0"/>
              <a:t>Exchanging relevant information with LSPs, IMs, RUs, IT platforms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n-GB" sz="1700" dirty="0"/>
              <a:t>Harmonised reason codes (delays, disruptions)</a:t>
            </a:r>
          </a:p>
          <a:p>
            <a:pPr lvl="1" indent="-457200"/>
            <a:r>
              <a:rPr lang="en-GB" sz="1700" dirty="0"/>
              <a:t>from </a:t>
            </a:r>
            <a:r>
              <a:rPr lang="en-GB" sz="1700" b="1" dirty="0"/>
              <a:t>TSI Telematics:</a:t>
            </a:r>
          </a:p>
          <a:p>
            <a:pPr lvl="1" indent="-457200">
              <a:buFont typeface="Wingdings" panose="05000000000000000000" pitchFamily="2" charset="2"/>
              <a:buChar char="è"/>
            </a:pPr>
            <a:r>
              <a:rPr lang="en-GB" sz="1700" dirty="0"/>
              <a:t>Exchange of ETA, ETD</a:t>
            </a:r>
          </a:p>
          <a:p>
            <a:pPr lvl="1" indent="-457200">
              <a:buFont typeface="Wingdings" panose="05000000000000000000" pitchFamily="2" charset="2"/>
              <a:buChar char="è"/>
            </a:pPr>
            <a:r>
              <a:rPr lang="en-GB" sz="1700" dirty="0"/>
              <a:t>All stakeholders involved in the transport are legitim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134B121-FC4F-0959-8BFC-06F4BBD36B7C}"/>
              </a:ext>
            </a:extLst>
          </p:cNvPr>
          <p:cNvSpPr txBox="1"/>
          <p:nvPr/>
        </p:nvSpPr>
        <p:spPr>
          <a:xfrm>
            <a:off x="1901366" y="4932764"/>
            <a:ext cx="9911234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700" b="1" dirty="0"/>
              <a:t>How: 	</a:t>
            </a:r>
            <a:r>
              <a:rPr lang="en-GB" sz="1700" dirty="0"/>
              <a:t>1) Faster alignment and synchronisation to close gaps (e.g. shunting yard integration)</a:t>
            </a:r>
          </a:p>
          <a:p>
            <a:r>
              <a:rPr lang="en-GB" sz="1700" dirty="0"/>
              <a:t>	2) Cost efficient IT platform interoperability</a:t>
            </a:r>
          </a:p>
          <a:p>
            <a:r>
              <a:rPr lang="en-GB" sz="1700" dirty="0"/>
              <a:t>	3) Specific rail-road ecosystem initiatives on road-blockers (e.g. international train number)</a:t>
            </a:r>
          </a:p>
          <a:p>
            <a:r>
              <a:rPr lang="en-GB" sz="1700" dirty="0"/>
              <a:t>	4) Standardisation and harmonisation of data (e.g. reason codes between CT and RU/IMs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9CF3C0F-EEB1-0717-7795-5AC6DE7E7DD4}"/>
              </a:ext>
            </a:extLst>
          </p:cNvPr>
          <p:cNvSpPr/>
          <p:nvPr/>
        </p:nvSpPr>
        <p:spPr>
          <a:xfrm>
            <a:off x="962114" y="992063"/>
            <a:ext cx="10391686" cy="308368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/>
              <a:t>Regulators on EU and national level</a:t>
            </a:r>
          </a:p>
        </p:txBody>
      </p:sp>
      <p:pic>
        <p:nvPicPr>
          <p:cNvPr id="8" name="Picture 7" descr="A white building with many square windows&#10;&#10;Description automatically generated">
            <a:extLst>
              <a:ext uri="{FF2B5EF4-FFF2-40B4-BE49-F238E27FC236}">
                <a16:creationId xmlns:a16="http://schemas.microsoft.com/office/drawing/2014/main" id="{3D62A83B-FADD-3C78-DEC8-1885F6F8E3C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3893" y="1845354"/>
            <a:ext cx="556261" cy="480061"/>
          </a:xfrm>
          <a:prstGeom prst="rect">
            <a:avLst/>
          </a:prstGeom>
        </p:spPr>
      </p:pic>
      <p:pic>
        <p:nvPicPr>
          <p:cNvPr id="9" name="Picture 8" descr="A silhouette of a train&#10;&#10;Description automatically generated">
            <a:extLst>
              <a:ext uri="{FF2B5EF4-FFF2-40B4-BE49-F238E27FC236}">
                <a16:creationId xmlns:a16="http://schemas.microsoft.com/office/drawing/2014/main" id="{775BFC11-26D3-0FFE-0153-1FFF9C84C4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6987" y="2032806"/>
            <a:ext cx="1524765" cy="292609"/>
          </a:xfrm>
          <a:prstGeom prst="rect">
            <a:avLst/>
          </a:prstGeom>
        </p:spPr>
      </p:pic>
      <p:sp>
        <p:nvSpPr>
          <p:cNvPr id="10" name="Arrow: Up-Down 9">
            <a:extLst>
              <a:ext uri="{FF2B5EF4-FFF2-40B4-BE49-F238E27FC236}">
                <a16:creationId xmlns:a16="http://schemas.microsoft.com/office/drawing/2014/main" id="{8049DE5B-AE7A-E759-F6A9-9F9EE7B7E384}"/>
              </a:ext>
            </a:extLst>
          </p:cNvPr>
          <p:cNvSpPr/>
          <p:nvPr/>
        </p:nvSpPr>
        <p:spPr>
          <a:xfrm rot="17418965">
            <a:off x="8583545" y="883816"/>
            <a:ext cx="123371" cy="1620000"/>
          </a:xfrm>
          <a:prstGeom prst="upDownArrow">
            <a:avLst/>
          </a:prstGeom>
          <a:solidFill>
            <a:srgbClr val="9C262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</p:txBody>
      </p:sp>
      <p:sp>
        <p:nvSpPr>
          <p:cNvPr id="11" name="Arrow: Up-Down 10">
            <a:extLst>
              <a:ext uri="{FF2B5EF4-FFF2-40B4-BE49-F238E27FC236}">
                <a16:creationId xmlns:a16="http://schemas.microsoft.com/office/drawing/2014/main" id="{0974D006-DEEB-4782-008E-A1CB1B15C794}"/>
              </a:ext>
            </a:extLst>
          </p:cNvPr>
          <p:cNvSpPr/>
          <p:nvPr/>
        </p:nvSpPr>
        <p:spPr>
          <a:xfrm rot="10800000">
            <a:off x="6102983" y="1367407"/>
            <a:ext cx="123371" cy="388800"/>
          </a:xfrm>
          <a:prstGeom prst="upDownArrow">
            <a:avLst/>
          </a:prstGeom>
          <a:solidFill>
            <a:srgbClr val="9C2626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</p:txBody>
      </p:sp>
      <p:sp>
        <p:nvSpPr>
          <p:cNvPr id="12" name="Arrow: Left-Right 11">
            <a:extLst>
              <a:ext uri="{FF2B5EF4-FFF2-40B4-BE49-F238E27FC236}">
                <a16:creationId xmlns:a16="http://schemas.microsoft.com/office/drawing/2014/main" id="{290AC86C-CC45-E4C8-12A7-37944FF85EF6}"/>
              </a:ext>
            </a:extLst>
          </p:cNvPr>
          <p:cNvSpPr/>
          <p:nvPr/>
        </p:nvSpPr>
        <p:spPr>
          <a:xfrm>
            <a:off x="7967155" y="2016582"/>
            <a:ext cx="1243413" cy="292609"/>
          </a:xfrm>
          <a:prstGeom prst="leftRightArrow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8B4C0711-FD8C-D7F0-9D18-E09E474101F6}"/>
              </a:ext>
            </a:extLst>
          </p:cNvPr>
          <p:cNvSpPr/>
          <p:nvPr/>
        </p:nvSpPr>
        <p:spPr>
          <a:xfrm>
            <a:off x="2875990" y="2053635"/>
            <a:ext cx="371742" cy="217918"/>
          </a:xfrm>
          <a:prstGeom prst="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3AFD899-8BD6-B60A-7267-E80F4BAC0A79}"/>
              </a:ext>
            </a:extLst>
          </p:cNvPr>
          <p:cNvSpPr txBox="1"/>
          <p:nvPr/>
        </p:nvSpPr>
        <p:spPr>
          <a:xfrm>
            <a:off x="779592" y="2234870"/>
            <a:ext cx="21123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Freight Forwarders’ </a:t>
            </a:r>
          </a:p>
          <a:p>
            <a:r>
              <a:rPr lang="en-GB" dirty="0"/>
              <a:t>Requirements</a:t>
            </a:r>
          </a:p>
        </p:txBody>
      </p:sp>
      <p:pic>
        <p:nvPicPr>
          <p:cNvPr id="15" name="Picture 14" descr="A white building with many square windows&#10;&#10;Description automatically generated">
            <a:extLst>
              <a:ext uri="{FF2B5EF4-FFF2-40B4-BE49-F238E27FC236}">
                <a16:creationId xmlns:a16="http://schemas.microsoft.com/office/drawing/2014/main" id="{9FA67C13-576A-C8CC-71D1-7B6ED453AF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1730" y="1768762"/>
            <a:ext cx="556261" cy="480061"/>
          </a:xfrm>
          <a:prstGeom prst="rect">
            <a:avLst/>
          </a:prstGeom>
        </p:spPr>
      </p:pic>
      <p:pic>
        <p:nvPicPr>
          <p:cNvPr id="16" name="Picture 15" descr="A blue and white logo&#10;&#10;Description automatically generated">
            <a:extLst>
              <a:ext uri="{FF2B5EF4-FFF2-40B4-BE49-F238E27FC236}">
                <a16:creationId xmlns:a16="http://schemas.microsoft.com/office/drawing/2014/main" id="{E40CA347-85DD-49D3-BB6E-D1C7D9D3732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702" y="1768762"/>
            <a:ext cx="740664" cy="33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9971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4123C01-2BAA-8827-069A-6939756973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123C01-2BAA-8827-069A-6939756973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 descr="A picture containing text, circle, screenshot, graphics&#10;&#10;Description automatically generated">
            <a:extLst>
              <a:ext uri="{FF2B5EF4-FFF2-40B4-BE49-F238E27FC236}">
                <a16:creationId xmlns:a16="http://schemas.microsoft.com/office/drawing/2014/main" id="{31928531-C690-C5CF-ABAF-F3540EDEEA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832" y="1513448"/>
            <a:ext cx="4640145" cy="433617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FFAB4C5-3D75-C98E-5615-A2354558C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3200" b="1" dirty="0"/>
              <a:t>EDICT Interoperability Push: </a:t>
            </a:r>
            <a:br>
              <a:rPr lang="en-GB" sz="3200" b="1" dirty="0"/>
            </a:br>
            <a:r>
              <a:rPr lang="en-GB" sz="3200" b="1" dirty="0"/>
              <a:t>Digital Collaboration &amp; Collaborative QMS (cQMS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696E88-B4E1-803E-E3A2-B07437F4350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62704" y="6522785"/>
            <a:ext cx="2743200" cy="268785"/>
          </a:xfrm>
        </p:spPr>
        <p:txBody>
          <a:bodyPr/>
          <a:lstStyle/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573D04-F797-B82E-C664-66A1C9E2D43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48697AE-77E0-15F2-0D7E-51B04AE3566C}"/>
              </a:ext>
            </a:extLst>
          </p:cNvPr>
          <p:cNvSpPr txBox="1"/>
          <p:nvPr/>
        </p:nvSpPr>
        <p:spPr>
          <a:xfrm>
            <a:off x="5899671" y="1849311"/>
            <a:ext cx="5500224" cy="37292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sz="2000" b="1" dirty="0"/>
              <a:t>Addressed interoperability levels: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dirty="0"/>
              <a:t>Business processes (quality &amp; punctuality)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dirty="0"/>
              <a:t>Standard development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dirty="0"/>
              <a:t>EDIGES</a:t>
            </a:r>
            <a:r>
              <a:rPr lang="en-GB" sz="2000" baseline="30000" dirty="0"/>
              <a:t>1</a:t>
            </a:r>
            <a:r>
              <a:rPr lang="en-GB" sz="2000" dirty="0"/>
              <a:t> extensions (HLR, MAD, TC, etc.)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dirty="0"/>
              <a:t>TAF TSI / TSI Telematics 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dirty="0"/>
              <a:t>Reason code harmonisation</a:t>
            </a:r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2000" dirty="0"/>
              <a:t>Master data exchange enhancement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dirty="0"/>
              <a:t>IT Platform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1869069-0D93-65A0-5F8F-86D4F7699594}"/>
              </a:ext>
            </a:extLst>
          </p:cNvPr>
          <p:cNvSpPr/>
          <p:nvPr/>
        </p:nvSpPr>
        <p:spPr>
          <a:xfrm>
            <a:off x="922946" y="2756018"/>
            <a:ext cx="1119499" cy="1102408"/>
          </a:xfrm>
          <a:prstGeom prst="ellipse">
            <a:avLst/>
          </a:prstGeom>
          <a:noFill/>
          <a:ln w="28575">
            <a:solidFill>
              <a:srgbClr val="9C26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853129B-C2CA-EAEF-332A-DE7E0783E6BC}"/>
              </a:ext>
            </a:extLst>
          </p:cNvPr>
          <p:cNvSpPr/>
          <p:nvPr/>
        </p:nvSpPr>
        <p:spPr>
          <a:xfrm>
            <a:off x="1541092" y="4656033"/>
            <a:ext cx="1119499" cy="1102408"/>
          </a:xfrm>
          <a:prstGeom prst="ellipse">
            <a:avLst/>
          </a:prstGeom>
          <a:noFill/>
          <a:ln w="28575">
            <a:solidFill>
              <a:srgbClr val="9C26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86B9166-6F51-0508-648C-FFC903F80A1F}"/>
              </a:ext>
            </a:extLst>
          </p:cNvPr>
          <p:cNvSpPr/>
          <p:nvPr/>
        </p:nvSpPr>
        <p:spPr>
          <a:xfrm>
            <a:off x="4168924" y="2751745"/>
            <a:ext cx="1119499" cy="1102408"/>
          </a:xfrm>
          <a:prstGeom prst="ellipse">
            <a:avLst/>
          </a:prstGeom>
          <a:noFill/>
          <a:ln w="28575">
            <a:solidFill>
              <a:srgbClr val="9C26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B5CE47B-AD57-0534-9A33-20841F6C514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2449" y="6308207"/>
            <a:ext cx="611078" cy="369333"/>
          </a:xfrm>
          <a:prstGeom prst="rect">
            <a:avLst/>
          </a:prstGeom>
        </p:spPr>
      </p:pic>
      <p:pic>
        <p:nvPicPr>
          <p:cNvPr id="6" name="Graphic 6">
            <a:extLst>
              <a:ext uri="{FF2B5EF4-FFF2-40B4-BE49-F238E27FC236}">
                <a16:creationId xmlns:a16="http://schemas.microsoft.com/office/drawing/2014/main" id="{DBAF0F12-AF7F-DA45-5A59-6D2CD5FD8D5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13739" y="6245237"/>
            <a:ext cx="1364522" cy="50156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47F94C9-4FFF-7887-0514-F3FC648C90B4}"/>
              </a:ext>
            </a:extLst>
          </p:cNvPr>
          <p:cNvSpPr txBox="1"/>
          <p:nvPr/>
        </p:nvSpPr>
        <p:spPr>
          <a:xfrm>
            <a:off x="6726666" y="6283676"/>
            <a:ext cx="476742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baseline="30000" dirty="0"/>
              <a:t>1</a:t>
            </a:r>
            <a:r>
              <a:rPr lang="en-GB" sz="900" dirty="0"/>
              <a:t> EDIGES: Electronic Data interchange for Intermodal Global European Standard managed by EDIGES consortium of relevant CTOs to facilitate communication standardisation with LSPs and rail stakeholders</a:t>
            </a:r>
          </a:p>
        </p:txBody>
      </p:sp>
    </p:spTree>
    <p:extLst>
      <p:ext uri="{BB962C8B-B14F-4D97-AF65-F5344CB8AC3E}">
        <p14:creationId xmlns:p14="http://schemas.microsoft.com/office/powerpoint/2010/main" val="2609067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1AD8FC2-BCC2-8B81-1A9B-BE81BD96E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AD8FC2-BCC2-8B81-1A9B-BE81BD96E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4F24D27-C8B1-D062-6369-4D5B88B2B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915" y="365125"/>
            <a:ext cx="10515600" cy="1325563"/>
          </a:xfrm>
        </p:spPr>
        <p:txBody>
          <a:bodyPr vert="horz"/>
          <a:lstStyle/>
          <a:p>
            <a:r>
              <a:rPr lang="en-GB" sz="3200" b="1" dirty="0"/>
              <a:t>EDICT Results </a:t>
            </a:r>
            <a:r>
              <a:rPr lang="en-GB" sz="3200" dirty="0"/>
              <a:t>(in progress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E20707-81EC-A22E-B8C0-B9B30D25D69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3C0E3B-AC3A-BFC4-4824-17F940B930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641F166-BC18-C6FB-B41B-A112EA18375B}"/>
              </a:ext>
            </a:extLst>
          </p:cNvPr>
          <p:cNvSpPr txBox="1"/>
          <p:nvPr/>
        </p:nvSpPr>
        <p:spPr>
          <a:xfrm>
            <a:off x="6775409" y="1076024"/>
            <a:ext cx="5326764" cy="38010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GB" sz="2000" dirty="0"/>
              <a:t>Five interoperable IT platforms </a:t>
            </a:r>
            <a:r>
              <a:rPr lang="en-GB" sz="2000" b="1" dirty="0"/>
              <a:t>enrich</a:t>
            </a:r>
            <a:r>
              <a:rPr lang="en-GB" sz="2000" dirty="0"/>
              <a:t> Combined Terminal digital connections to CTOs, IMs &amp; RUs via</a:t>
            </a:r>
            <a:br>
              <a:rPr lang="en-GB" sz="2000" dirty="0"/>
            </a:br>
            <a:endParaRPr lang="en-GB" sz="1050" dirty="0"/>
          </a:p>
          <a:p>
            <a:pPr marL="342900" indent="-342900">
              <a:buFont typeface="+mj-lt"/>
              <a:buAutoNum type="arabicPeriod"/>
            </a:pPr>
            <a:r>
              <a:rPr lang="en-GB" sz="2000" dirty="0"/>
              <a:t>Increase </a:t>
            </a:r>
            <a:r>
              <a:rPr lang="en-GB" sz="2000" b="1" dirty="0"/>
              <a:t>compliance</a:t>
            </a:r>
            <a:r>
              <a:rPr lang="en-GB" sz="2000" dirty="0"/>
              <a:t> with TAF TSI / </a:t>
            </a:r>
            <a:br>
              <a:rPr lang="en-GB" sz="2000" dirty="0"/>
            </a:br>
            <a:r>
              <a:rPr lang="en-GB" sz="2000" dirty="0"/>
              <a:t>TSI Telematics &amp; interoperability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dirty="0"/>
              <a:t>Introduce </a:t>
            </a:r>
            <a:r>
              <a:rPr lang="en-GB" sz="2000" b="1" dirty="0"/>
              <a:t>cQMS</a:t>
            </a:r>
            <a:r>
              <a:rPr lang="en-GB" sz="2000" dirty="0"/>
              <a:t> processes &amp; reports</a:t>
            </a:r>
          </a:p>
          <a:p>
            <a:pPr lvl="1"/>
            <a:r>
              <a:rPr lang="en-GB" sz="2000" dirty="0"/>
              <a:t>- Harmonised reason codes</a:t>
            </a:r>
          </a:p>
          <a:p>
            <a:pPr marL="536575" lvl="1" indent="-79375">
              <a:buFontTx/>
              <a:buChar char="-"/>
            </a:pPr>
            <a:r>
              <a:rPr lang="en-GB" sz="2000" dirty="0"/>
              <a:t> Collaborative reason code reconciliation</a:t>
            </a:r>
          </a:p>
          <a:p>
            <a:pPr marL="536575" lvl="1" indent="-79375">
              <a:buFontTx/>
              <a:buChar char="-"/>
            </a:pPr>
            <a:r>
              <a:rPr lang="en-GB" sz="2000" dirty="0"/>
              <a:t> Collaborative reporting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dirty="0"/>
              <a:t>Enhance end-to-end data exchange </a:t>
            </a:r>
            <a:r>
              <a:rPr lang="en-GB" sz="2000" b="1" dirty="0"/>
              <a:t>quantity</a:t>
            </a:r>
          </a:p>
          <a:p>
            <a:pPr marL="342900" indent="-342900">
              <a:buFont typeface="+mj-lt"/>
              <a:buAutoNum type="arabicPeriod"/>
            </a:pPr>
            <a:endParaRPr lang="en-GB" sz="1050" dirty="0"/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5F5CAB9D-11CB-8F57-F624-F1F38BBBA7DB}"/>
              </a:ext>
            </a:extLst>
          </p:cNvPr>
          <p:cNvSpPr/>
          <p:nvPr/>
        </p:nvSpPr>
        <p:spPr>
          <a:xfrm>
            <a:off x="8848205" y="4727482"/>
            <a:ext cx="982879" cy="280057"/>
          </a:xfrm>
          <a:prstGeom prst="downArrow">
            <a:avLst/>
          </a:prstGeom>
          <a:solidFill>
            <a:srgbClr val="65B3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8ECA3CC-8C20-96A5-3A64-5995B3A9A378}"/>
              </a:ext>
            </a:extLst>
          </p:cNvPr>
          <p:cNvSpPr txBox="1"/>
          <p:nvPr/>
        </p:nvSpPr>
        <p:spPr>
          <a:xfrm>
            <a:off x="6915870" y="4995042"/>
            <a:ext cx="484754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/>
              <a:t>Increase interoperability scope &amp; adoption </a:t>
            </a:r>
          </a:p>
          <a:p>
            <a:pPr algn="ctr"/>
            <a:r>
              <a:rPr lang="en-GB" sz="2000" b="1" dirty="0"/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461D7A4-1DCD-DF00-F420-BECD09D3DDDD}"/>
              </a:ext>
            </a:extLst>
          </p:cNvPr>
          <p:cNvSpPr txBox="1"/>
          <p:nvPr/>
        </p:nvSpPr>
        <p:spPr>
          <a:xfrm>
            <a:off x="7011868" y="6014248"/>
            <a:ext cx="465554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(</a:t>
            </a:r>
            <a:r>
              <a:rPr lang="en-US" sz="1100" b="1" dirty="0"/>
              <a:t>E</a:t>
            </a:r>
            <a:r>
              <a:rPr lang="en-US" sz="1100" dirty="0"/>
              <a:t>nd-2-End </a:t>
            </a:r>
            <a:r>
              <a:rPr lang="en-US" sz="1100" b="1" dirty="0"/>
              <a:t>I</a:t>
            </a:r>
            <a:r>
              <a:rPr lang="en-US" sz="1100" dirty="0"/>
              <a:t>nteroperability </a:t>
            </a:r>
            <a:r>
              <a:rPr lang="en-US" sz="1100" b="1" dirty="0"/>
              <a:t>I</a:t>
            </a:r>
            <a:r>
              <a:rPr lang="en-US" sz="1100" dirty="0"/>
              <a:t>ncrease &amp; </a:t>
            </a:r>
            <a:r>
              <a:rPr lang="en-US" sz="1100" b="1" dirty="0"/>
              <a:t>A</a:t>
            </a:r>
            <a:r>
              <a:rPr lang="en-US" sz="1100" dirty="0"/>
              <a:t>doption within </a:t>
            </a:r>
            <a:r>
              <a:rPr lang="en-US" sz="1100" b="1" dirty="0"/>
              <a:t>C</a:t>
            </a:r>
            <a:r>
              <a:rPr lang="en-US" sz="1100" dirty="0"/>
              <a:t>ombined </a:t>
            </a:r>
            <a:r>
              <a:rPr lang="en-US" sz="1100" b="1" dirty="0"/>
              <a:t>T</a:t>
            </a:r>
            <a:r>
              <a:rPr lang="en-US" sz="1100" dirty="0"/>
              <a:t>ransport)</a:t>
            </a:r>
            <a:br>
              <a:rPr lang="en-US" sz="1100" dirty="0"/>
            </a:br>
            <a:r>
              <a:rPr lang="en-US" sz="1100" dirty="0"/>
              <a:t>	     </a:t>
            </a:r>
            <a:r>
              <a:rPr lang="en-US" sz="1000" dirty="0"/>
              <a:t>EDICT Leverage Project Proposal </a:t>
            </a:r>
            <a:endParaRPr lang="en-GB" sz="1100" dirty="0"/>
          </a:p>
        </p:txBody>
      </p:sp>
      <p:pic>
        <p:nvPicPr>
          <p:cNvPr id="20" name="Picture 19" descr="A close-up of a logo&#10;&#10;Description automatically generated">
            <a:extLst>
              <a:ext uri="{FF2B5EF4-FFF2-40B4-BE49-F238E27FC236}">
                <a16:creationId xmlns:a16="http://schemas.microsoft.com/office/drawing/2014/main" id="{6C61DCC0-F881-45D1-2BF6-A04C9848A8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7228" y="5426210"/>
            <a:ext cx="1324831" cy="602019"/>
          </a:xfrm>
          <a:prstGeom prst="rect">
            <a:avLst/>
          </a:prstGeom>
        </p:spPr>
      </p:pic>
      <p:pic>
        <p:nvPicPr>
          <p:cNvPr id="2" name="Picture 1" descr="A computer screen shot of a diagram&#10;&#10;Description automatically generated">
            <a:extLst>
              <a:ext uri="{FF2B5EF4-FFF2-40B4-BE49-F238E27FC236}">
                <a16:creationId xmlns:a16="http://schemas.microsoft.com/office/drawing/2014/main" id="{9508EBD3-B550-59B3-5012-2C25C4ADD01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879" y="1155072"/>
            <a:ext cx="6440530" cy="454785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FAC3D7E-7F27-5804-38EB-A2D9EB3F89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15276" y="6331646"/>
            <a:ext cx="611078" cy="369333"/>
          </a:xfrm>
          <a:prstGeom prst="rect">
            <a:avLst/>
          </a:prstGeom>
        </p:spPr>
      </p:pic>
      <p:pic>
        <p:nvPicPr>
          <p:cNvPr id="8" name="Graphic 6">
            <a:extLst>
              <a:ext uri="{FF2B5EF4-FFF2-40B4-BE49-F238E27FC236}">
                <a16:creationId xmlns:a16="http://schemas.microsoft.com/office/drawing/2014/main" id="{90AD5436-71CE-80B2-47C7-71EE8ACAB0B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24327" y="6298572"/>
            <a:ext cx="1364522" cy="501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8170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9566A38-DA84-8DF4-8B56-F0CB132874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058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8" imgH="408" progId="TCLayout.ActiveDocument.1">
                  <p:embed/>
                </p:oleObj>
              </mc:Choice>
              <mc:Fallback>
                <p:oleObj name="think-cell Slide" r:id="rId6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566A38-DA84-8DF4-8B56-F0CB132874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604DB06-DB1F-8ACC-832A-9E4493315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9104"/>
          </a:xfrm>
        </p:spPr>
        <p:txBody>
          <a:bodyPr vert="horz"/>
          <a:lstStyle/>
          <a:p>
            <a:r>
              <a:rPr lang="en-GB" sz="3600" b="1" dirty="0"/>
              <a:t>EDICT result: </a:t>
            </a:r>
            <a:br>
              <a:rPr lang="en-GB" sz="3600" b="1" dirty="0"/>
            </a:br>
            <a:r>
              <a:rPr lang="en-GB" sz="3600" b="1" dirty="0"/>
              <a:t>Collaborative reconciliation process </a:t>
            </a:r>
            <a:r>
              <a:rPr lang="en-GB" sz="3600" dirty="0"/>
              <a:t>(RU-CTO)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7F52FE-2545-CCCB-BAFF-E73BD91D6B7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783615-D3D6-7E52-8056-51353ADE90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UIRR @ Rail Data Forum</a:t>
            </a: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15267111-6389-AB2C-CB45-CC4BF40DA04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990600" y="1584325"/>
            <a:ext cx="2087563" cy="869950"/>
          </a:xfrm>
          <a:prstGeom prst="chevron">
            <a:avLst>
              <a:gd name="adj" fmla="val 15146"/>
            </a:avLst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263" tIns="233363" rIns="0" bIns="233363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1325" dirty="0">
                <a:solidFill>
                  <a:schemeClr val="bg1"/>
                </a:solidFill>
              </a:rPr>
              <a:t>Detection of non-conformity / disruption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64BC6533-F12F-E952-D8F7-2FD33DE7E0B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078163" y="1584325"/>
            <a:ext cx="2014538" cy="869950"/>
          </a:xfrm>
          <a:prstGeom prst="chevron">
            <a:avLst>
              <a:gd name="adj" fmla="val 15146"/>
            </a:avLst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263" tIns="31750" rIns="0" bIns="3175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1325" dirty="0">
                <a:solidFill>
                  <a:schemeClr val="bg1"/>
                </a:solidFill>
              </a:rPr>
              <a:t>Parties involved enter reason or cancellation code into local TMS or </a:t>
            </a:r>
            <a:r>
              <a:rPr lang="en-GB" sz="1325" dirty="0" err="1">
                <a:solidFill>
                  <a:schemeClr val="bg1"/>
                </a:solidFill>
              </a:rPr>
              <a:t>cQMS</a:t>
            </a:r>
            <a:endParaRPr lang="en-GB" sz="1325" dirty="0">
              <a:solidFill>
                <a:schemeClr val="bg1"/>
              </a:solidFill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6A1A9C8C-1E4A-8331-FD2C-E012576A3A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45638" y="1558925"/>
            <a:ext cx="6662811" cy="1433513"/>
          </a:xfrm>
          <a:prstGeom prst="rect">
            <a:avLst/>
          </a:prstGeom>
          <a:ln>
            <a:noFill/>
          </a:ln>
          <a:effectLst>
            <a:outerShdw blurRad="889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4FC98135-D3BC-6D6B-2310-51A5384681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6623" y="4000938"/>
            <a:ext cx="10870547" cy="1297453"/>
          </a:xfrm>
          <a:prstGeom prst="rect">
            <a:avLst/>
          </a:prstGeom>
          <a:ln>
            <a:noFill/>
          </a:ln>
          <a:effectLst>
            <a:outerShdw blurRad="889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82216D5E-A31A-6235-6A8E-8472CD2A51E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90600" y="3041649"/>
            <a:ext cx="2271713" cy="890588"/>
          </a:xfrm>
          <a:prstGeom prst="chevron">
            <a:avLst>
              <a:gd name="adj" fmla="val 20677"/>
            </a:avLst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5875" tIns="42863" rIns="0" bIns="41275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1325" dirty="0">
                <a:solidFill>
                  <a:schemeClr val="bg1"/>
                </a:solidFill>
              </a:rPr>
              <a:t>Per non-conformity RU &amp; CTO collaboratively decide on reason code, </a:t>
            </a:r>
            <a:br>
              <a:rPr lang="en-GB" altLang="en-US" sz="1325" dirty="0">
                <a:solidFill>
                  <a:schemeClr val="bg1"/>
                </a:solidFill>
                <a:effectLst/>
              </a:rPr>
            </a:br>
            <a:r>
              <a:rPr lang="en-GB" sz="1325" dirty="0">
                <a:solidFill>
                  <a:schemeClr val="bg1"/>
                </a:solidFill>
              </a:rPr>
              <a:t>originator &amp; delay in cQM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45" name="Ink 44">
                <a:extLst>
                  <a:ext uri="{FF2B5EF4-FFF2-40B4-BE49-F238E27FC236}">
                    <a16:creationId xmlns:a16="http://schemas.microsoft.com/office/drawing/2014/main" id="{2BE31743-AE1D-AF5A-91BA-BFD43E076ED9}"/>
                  </a:ext>
                </a:extLst>
              </p14:cNvPr>
              <p14:cNvContentPartPr/>
              <p14:nvPr/>
            </p14:nvContentPartPr>
            <p14:xfrm>
              <a:off x="4336565" y="4564486"/>
              <a:ext cx="698760" cy="83520"/>
            </p14:xfrm>
          </p:contentPart>
        </mc:Choice>
        <mc:Fallback xmlns="">
          <p:pic>
            <p:nvPicPr>
              <p:cNvPr id="45" name="Ink 44">
                <a:extLst>
                  <a:ext uri="{FF2B5EF4-FFF2-40B4-BE49-F238E27FC236}">
                    <a16:creationId xmlns:a16="http://schemas.microsoft.com/office/drawing/2014/main" id="{2BE31743-AE1D-AF5A-91BA-BFD43E076ED9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300565" y="4492486"/>
                <a:ext cx="770400" cy="2271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46" name="Ink 45">
                <a:extLst>
                  <a:ext uri="{FF2B5EF4-FFF2-40B4-BE49-F238E27FC236}">
                    <a16:creationId xmlns:a16="http://schemas.microsoft.com/office/drawing/2014/main" id="{44CC802B-34B6-0D39-9E98-7A8601770F3A}"/>
                  </a:ext>
                </a:extLst>
              </p14:cNvPr>
              <p14:cNvContentPartPr/>
              <p14:nvPr/>
            </p14:nvContentPartPr>
            <p14:xfrm>
              <a:off x="2646725" y="4610926"/>
              <a:ext cx="704160" cy="36720"/>
            </p14:xfrm>
          </p:contentPart>
        </mc:Choice>
        <mc:Fallback xmlns="">
          <p:pic>
            <p:nvPicPr>
              <p:cNvPr id="46" name="Ink 45">
                <a:extLst>
                  <a:ext uri="{FF2B5EF4-FFF2-40B4-BE49-F238E27FC236}">
                    <a16:creationId xmlns:a16="http://schemas.microsoft.com/office/drawing/2014/main" id="{44CC802B-34B6-0D39-9E98-7A8601770F3A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610725" y="4539286"/>
                <a:ext cx="775800" cy="1803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47" name="Ink 46">
                <a:extLst>
                  <a:ext uri="{FF2B5EF4-FFF2-40B4-BE49-F238E27FC236}">
                    <a16:creationId xmlns:a16="http://schemas.microsoft.com/office/drawing/2014/main" id="{59CF3A7F-F5BB-57DF-4E35-4D1C44C2CC28}"/>
                  </a:ext>
                </a:extLst>
              </p14:cNvPr>
              <p14:cNvContentPartPr/>
              <p14:nvPr/>
            </p14:nvContentPartPr>
            <p14:xfrm>
              <a:off x="979565" y="4600846"/>
              <a:ext cx="571320" cy="41040"/>
            </p14:xfrm>
          </p:contentPart>
        </mc:Choice>
        <mc:Fallback xmlns="">
          <p:pic>
            <p:nvPicPr>
              <p:cNvPr id="47" name="Ink 46">
                <a:extLst>
                  <a:ext uri="{FF2B5EF4-FFF2-40B4-BE49-F238E27FC236}">
                    <a16:creationId xmlns:a16="http://schemas.microsoft.com/office/drawing/2014/main" id="{59CF3A7F-F5BB-57DF-4E35-4D1C44C2CC28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943925" y="4528846"/>
                <a:ext cx="642960" cy="184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48" name="Ink 47">
                <a:extLst>
                  <a:ext uri="{FF2B5EF4-FFF2-40B4-BE49-F238E27FC236}">
                    <a16:creationId xmlns:a16="http://schemas.microsoft.com/office/drawing/2014/main" id="{9789D3F8-4894-DF04-EB40-3E256CF469E6}"/>
                  </a:ext>
                </a:extLst>
              </p14:cNvPr>
              <p14:cNvContentPartPr/>
              <p14:nvPr/>
            </p14:nvContentPartPr>
            <p14:xfrm>
              <a:off x="6800983" y="4620552"/>
              <a:ext cx="1006920" cy="6840"/>
            </p14:xfrm>
          </p:contentPart>
        </mc:Choice>
        <mc:Fallback xmlns="">
          <p:pic>
            <p:nvPicPr>
              <p:cNvPr id="48" name="Ink 47">
                <a:extLst>
                  <a:ext uri="{FF2B5EF4-FFF2-40B4-BE49-F238E27FC236}">
                    <a16:creationId xmlns:a16="http://schemas.microsoft.com/office/drawing/2014/main" id="{9789D3F8-4894-DF04-EB40-3E256CF469E6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6764983" y="4548552"/>
                <a:ext cx="1078560" cy="150480"/>
              </a:xfrm>
              <a:prstGeom prst="rect">
                <a:avLst/>
              </a:prstGeom>
            </p:spPr>
          </p:pic>
        </mc:Fallback>
      </mc:AlternateContent>
      <p:sp>
        <p:nvSpPr>
          <p:cNvPr id="55" name="Oval 54">
            <a:extLst>
              <a:ext uri="{FF2B5EF4-FFF2-40B4-BE49-F238E27FC236}">
                <a16:creationId xmlns:a16="http://schemas.microsoft.com/office/drawing/2014/main" id="{092C3FE9-ED6F-7A78-F224-9E13894F591D}"/>
              </a:ext>
            </a:extLst>
          </p:cNvPr>
          <p:cNvSpPr>
            <a:spLocks noChangeAspect="1"/>
          </p:cNvSpPr>
          <p:nvPr/>
        </p:nvSpPr>
        <p:spPr>
          <a:xfrm>
            <a:off x="893617" y="1476375"/>
            <a:ext cx="252413" cy="252413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1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389C968-BC0B-FA69-7A43-7D84E7411D57}"/>
              </a:ext>
            </a:extLst>
          </p:cNvPr>
          <p:cNvSpPr>
            <a:spLocks noChangeAspect="1"/>
          </p:cNvSpPr>
          <p:nvPr/>
        </p:nvSpPr>
        <p:spPr>
          <a:xfrm>
            <a:off x="2981180" y="1476375"/>
            <a:ext cx="252413" cy="252413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2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4AB1B6E-9A96-86E2-6113-85AB1EBAB390}"/>
              </a:ext>
            </a:extLst>
          </p:cNvPr>
          <p:cNvSpPr>
            <a:spLocks noChangeAspect="1"/>
          </p:cNvSpPr>
          <p:nvPr/>
        </p:nvSpPr>
        <p:spPr>
          <a:xfrm>
            <a:off x="893617" y="2942638"/>
            <a:ext cx="252000" cy="2520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/>
              <a:t>3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2FE51F2-B2C7-A5F4-4630-C3B74DE46AD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672449" y="6308207"/>
            <a:ext cx="611078" cy="369333"/>
          </a:xfrm>
          <a:prstGeom prst="rect">
            <a:avLst/>
          </a:prstGeom>
        </p:spPr>
      </p:pic>
      <p:pic>
        <p:nvPicPr>
          <p:cNvPr id="16" name="Graphic 6">
            <a:extLst>
              <a:ext uri="{FF2B5EF4-FFF2-40B4-BE49-F238E27FC236}">
                <a16:creationId xmlns:a16="http://schemas.microsoft.com/office/drawing/2014/main" id="{C0FAB573-2A14-AA0C-5413-298316495BA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13739" y="6245237"/>
            <a:ext cx="1364522" cy="501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7287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3F846CD-BC10-BC86-0B51-1F286CBAFE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494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B6A1D-7B00-F2A9-226A-3195855F6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fld id="{6284A3DF-976F-4783-871F-08DE6E0D6334}" type="datetime'Agenda'">
              <a:rPr lang="en-GB" altLang="en-US" sz="3600" b="1" smtClean="0">
                <a:effectLst/>
              </a:rPr>
              <a:pPr/>
              <a:t>Agenda</a:t>
            </a:fld>
            <a:endParaRPr lang="en-GB" b="1" dirty="0"/>
          </a:p>
        </p:txBody>
      </p:sp>
      <p:sp>
        <p:nvSpPr>
          <p:cNvPr id="8" name="Rectangle 7">
            <a:hlinkClick r:id="rId8" action="ppaction://hlinksldjump"/>
            <a:extLst>
              <a:ext uri="{FF2B5EF4-FFF2-40B4-BE49-F238E27FC236}">
                <a16:creationId xmlns:a16="http://schemas.microsoft.com/office/drawing/2014/main" id="{B1E815B0-B91C-15BB-20F1-1A12D49AC768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354263" y="1933575"/>
            <a:ext cx="3559175" cy="457200"/>
          </a:xfrm>
          <a:prstGeom prst="rect">
            <a:avLst/>
          </a:prstGeom>
          <a:noFill/>
          <a:ln w="381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2075" tIns="92075" rIns="0" bIns="90488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chemeClr val="tx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kshop: Telematics Freight</a:t>
            </a:r>
            <a:endParaRPr lang="en-GB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F51AF47-BAB1-8DEE-7CFD-5B7E6AEF63B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354263" y="2390775"/>
            <a:ext cx="3559175" cy="457200"/>
          </a:xfrm>
          <a:prstGeom prst="rect">
            <a:avLst/>
          </a:prstGeom>
          <a:solidFill>
            <a:schemeClr val="accent6"/>
          </a:solidFill>
          <a:ln w="381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92075" tIns="92075" rIns="0" bIns="90488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b="1" dirty="0"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ck-up</a:t>
            </a:r>
            <a:endParaRPr lang="en-GB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11055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00777B9-60C7-7CB5-D6E8-79BF7663BC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97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0777B9-60C7-7CB5-D6E8-79BF7663B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690F063-3320-0F38-2F72-BDC012AEC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3600" dirty="0"/>
              <a:t>Future development direction of rail information exchange from a business ecosystem view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5CB741-66F6-EF0A-ECE8-15876FD564C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19/06/2024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DE2AF9-F348-95CB-7B5F-17B639B039E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UIRR @ Rail Data Forum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1213DFE-295D-297E-ACA6-DF6A9333C09F}"/>
              </a:ext>
            </a:extLst>
          </p:cNvPr>
          <p:cNvSpPr txBox="1"/>
          <p:nvPr/>
        </p:nvSpPr>
        <p:spPr>
          <a:xfrm>
            <a:off x="976045" y="1777429"/>
            <a:ext cx="10306989" cy="38831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GB" sz="2000" dirty="0"/>
              <a:t>Be not fearful, but actively embracing change and opportunities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GB" sz="2000" dirty="0"/>
              <a:t>Not sharing all information, but the relevant parts to make train attractive to shippers</a:t>
            </a:r>
          </a:p>
          <a:p>
            <a:pPr marL="342900" indent="-342900">
              <a:lnSpc>
                <a:spcPct val="200000"/>
              </a:lnSpc>
              <a:spcAft>
                <a:spcPts val="1500"/>
              </a:spcAft>
              <a:buFont typeface="+mj-lt"/>
              <a:buAutoNum type="arabicPeriod"/>
            </a:pPr>
            <a:r>
              <a:rPr lang="en-GB" sz="2000" dirty="0"/>
              <a:t>Remove hurdles to allow that network effects happen (overcome chicken and egg problem)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2000" dirty="0"/>
              <a:t>Improve interoperability of platforms (RNE TIS, DXI KV4.0, Port Community Systems etc.) </a:t>
            </a:r>
            <a:br>
              <a:rPr lang="en-GB" sz="2000" dirty="0"/>
            </a:br>
            <a:r>
              <a:rPr lang="en-GB" sz="2000" dirty="0"/>
              <a:t>and standards (TSI Telematics, EDIGES, etc.)</a:t>
            </a:r>
          </a:p>
          <a:p>
            <a:pPr marL="342900" indent="-342900">
              <a:buFont typeface="+mj-lt"/>
              <a:buAutoNum type="arabicPeriod"/>
            </a:pPr>
            <a:endParaRPr lang="en-GB" sz="2000" dirty="0"/>
          </a:p>
          <a:p>
            <a:pPr marL="342900" indent="-342900">
              <a:buFont typeface="+mj-lt"/>
              <a:buAutoNum type="arabicPeriod"/>
            </a:pPr>
            <a:r>
              <a:rPr lang="en-GB" sz="2000" dirty="0"/>
              <a:t>…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endParaRPr lang="en-GB" sz="20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50D3314-28E7-CF6A-1628-AA258A8A0F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5276" y="6331646"/>
            <a:ext cx="611078" cy="369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6502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2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2.51800821000000007999E+00&quot;&gt;&lt;m_msothmcolidx val=&quot;0&quot;/&gt;&lt;m_rgb r=&quot;A4&quot; g=&quot;A7&quot; b=&quot;30&quot;/&gt;&lt;/elem&gt;&lt;elem m_fUsage=&quot;2.40049000000000001265E+00&quot;&gt;&lt;m_msothmcolidx val=&quot;0&quot;/&gt;&lt;m_rgb r=&quot;72&quot; g=&quot;87&quot; b=&quot;69&quot;/&gt;&lt;/elem&gt;&lt;elem m_fUsage=&quot;7.29000000000000092371E-01&quot;&gt;&lt;m_msothmcolidx val=&quot;0&quot;/&gt;&lt;m_rgb r=&quot;E8&quot; g=&quot;D4&quot; b=&quot;DD&quot;/&gt;&lt;/elem&gt;&lt;elem m_fUsage=&quot;4.78296900000000135833E-01&quot;&gt;&lt;m_msothmcolidx val=&quot;0&quot;/&gt;&lt;m_rgb r=&quot;DF&quot; g=&quot;E1&quot; b=&quot;95&quot;/&gt;&lt;/elem&gt;&lt;elem m_fUsage=&quot;3.87420489000000145552E-01&quot;&gt;&lt;m_msothmcolidx val=&quot;0&quot;/&gt;&lt;m_rgb r=&quot;FA&quot; g=&quot;9C&quot; b=&quot;B6&quot;/&gt;&lt;/elem&gt;&lt;elem m_fUsage=&quot;3.48678440100000153201E-01&quot;&gt;&lt;m_msothmcolidx val=&quot;0&quot;/&gt;&lt;m_rgb r=&quot;A0&quot; g=&quot;E4&quot; b=&quot;23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sDh8qUatDtSHLJ.C2dV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Z_jGU.hWAzFdkImK3O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FuVJdHLQzZ_yJJsIn5b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2.od5cWyqqenVFnZR6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cgyriy376Ux1nAEboYE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sDh8qUatDtSHLJ.C2d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35mCrXO6EiGsTzqzJKq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">
  <a:themeElements>
    <a:clrScheme name="Custom 1">
      <a:dk1>
        <a:srgbClr val="02304C"/>
      </a:dk1>
      <a:lt1>
        <a:srgbClr val="F8FDFF"/>
      </a:lt1>
      <a:dk2>
        <a:srgbClr val="02304C"/>
      </a:dk2>
      <a:lt2>
        <a:srgbClr val="F8FDFF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onstantia-Franklin Gothic Book">
      <a:majorFont>
        <a:latin typeface="Constantia" panose="02030602050306030303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INTERI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IRR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spAutoFit/>
      </a:bodyPr>
      <a:lstStyle>
        <a:defPPr>
          <a:defRPr sz="1200" dirty="0" smtClean="0">
            <a:solidFill>
              <a:srgbClr val="939598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IRR_PPT_10-2021_V03.pptx" id="{4665A6AD-417E-3B4A-8109-353E20492C44}" vid="{69EFDEFF-0145-4C46-8F41-7914211C7CD5}"/>
    </a:ext>
  </a:extLst>
</a:theme>
</file>

<file path=ppt/theme/theme11.xml><?xml version="1.0" encoding="utf-8"?>
<a:theme xmlns:a="http://schemas.openxmlformats.org/drawingml/2006/main" name="1_INTERI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IRR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spAutoFit/>
      </a:bodyPr>
      <a:lstStyle>
        <a:defPPr>
          <a:defRPr sz="1200" dirty="0" smtClean="0">
            <a:solidFill>
              <a:srgbClr val="939598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IRR_PPT_10-2021_V03.pptx" id="{4665A6AD-417E-3B4A-8109-353E20492C44}" vid="{69EFDEFF-0145-4C46-8F41-7914211C7CD5}"/>
    </a:ext>
  </a:extLst>
</a:theme>
</file>

<file path=ppt/theme/theme12.xml><?xml version="1.0" encoding="utf-8"?>
<a:theme xmlns:a="http://schemas.openxmlformats.org/drawingml/2006/main" name="1_INTERI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IRR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spAutoFit/>
      </a:bodyPr>
      <a:lstStyle>
        <a:defPPr>
          <a:defRPr sz="1200" dirty="0" smtClean="0">
            <a:solidFill>
              <a:srgbClr val="939598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IRR_PPT_10-2021_V03.pptx" id="{4665A6AD-417E-3B4A-8109-353E20492C44}" vid="{69EFDEFF-0145-4C46-8F41-7914211C7CD5}"/>
    </a:ext>
  </a:extLst>
</a:theme>
</file>

<file path=ppt/theme/theme13.xml><?xml version="1.0" encoding="utf-8"?>
<a:theme xmlns:a="http://schemas.openxmlformats.org/drawingml/2006/main" name="1_INTERI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IRR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spAutoFit/>
      </a:bodyPr>
      <a:lstStyle>
        <a:defPPr>
          <a:defRPr sz="1200" dirty="0" smtClean="0">
            <a:solidFill>
              <a:srgbClr val="939598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IRR_PPT_10-2021_V03.pptx" id="{4665A6AD-417E-3B4A-8109-353E20492C44}" vid="{69EFDEFF-0145-4C46-8F41-7914211C7CD5}"/>
    </a:ext>
  </a:extLst>
</a:theme>
</file>

<file path=ppt/theme/theme14.xml><?xml version="1.0" encoding="utf-8"?>
<a:theme xmlns:a="http://schemas.openxmlformats.org/drawingml/2006/main" name="1_INTERI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IRR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spAutoFit/>
      </a:bodyPr>
      <a:lstStyle>
        <a:defPPr>
          <a:defRPr sz="1200" dirty="0" smtClean="0">
            <a:solidFill>
              <a:srgbClr val="939598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IRR_PPT_10-2021_V03.pptx" id="{4665A6AD-417E-3B4A-8109-353E20492C44}" vid="{69EFDEFF-0145-4C46-8F41-7914211C7CD5}"/>
    </a:ext>
  </a:extLst>
</a:theme>
</file>

<file path=ppt/theme/theme15.xml><?xml version="1.0" encoding="utf-8"?>
<a:theme xmlns:a="http://schemas.openxmlformats.org/drawingml/2006/main" name="1_INTERI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IRR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spAutoFit/>
      </a:bodyPr>
      <a:lstStyle>
        <a:defPPr>
          <a:defRPr sz="1200" dirty="0" smtClean="0">
            <a:solidFill>
              <a:srgbClr val="939598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IRR_PPT_10-2021_V03.pptx" id="{4665A6AD-417E-3B4A-8109-353E20492C44}" vid="{69EFDEFF-0145-4C46-8F41-7914211C7CD5}"/>
    </a:ext>
  </a:extLst>
</a:theme>
</file>

<file path=ppt/theme/theme16.xml><?xml version="1.0" encoding="utf-8"?>
<a:theme xmlns:a="http://schemas.openxmlformats.org/drawingml/2006/main" name="1_INTERI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IRR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spAutoFit/>
      </a:bodyPr>
      <a:lstStyle>
        <a:defPPr>
          <a:defRPr sz="1200" dirty="0" smtClean="0">
            <a:solidFill>
              <a:srgbClr val="939598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IRR_PPT_10-2021_V03.pptx" id="{4665A6AD-417E-3B4A-8109-353E20492C44}" vid="{69EFDEFF-0145-4C46-8F41-7914211C7CD5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Dark">
  <a:themeElements>
    <a:clrScheme name="Custom 1">
      <a:dk1>
        <a:srgbClr val="02304C"/>
      </a:dk1>
      <a:lt1>
        <a:srgbClr val="F8FDFF"/>
      </a:lt1>
      <a:dk2>
        <a:srgbClr val="02304C"/>
      </a:dk2>
      <a:lt2>
        <a:srgbClr val="F8FDFF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Open Sans MEDIUM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2304C"/>
        </a:solidFill>
        <a:ln>
          <a:solidFill>
            <a:srgbClr val="F9FAFD"/>
          </a:solidFill>
        </a:ln>
      </a:spPr>
      <a:bodyPr rtlCol="0" anchor="ctr"/>
      <a:lstStyle>
        <a:defPPr algn="ctr">
          <a:defRPr sz="1100" b="1" dirty="0">
            <a:solidFill>
              <a:schemeClr val="bg1"/>
            </a:solidFill>
            <a:ea typeface="Times New Roman" panose="02020603050405020304" pitchFamily="18" charset="0"/>
            <a:cs typeface="Times New Roman" panose="02020603050405020304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Dark">
  <a:themeElements>
    <a:clrScheme name="Custom 1">
      <a:dk1>
        <a:srgbClr val="02304C"/>
      </a:dk1>
      <a:lt1>
        <a:srgbClr val="F8FDFF"/>
      </a:lt1>
      <a:dk2>
        <a:srgbClr val="02304C"/>
      </a:dk2>
      <a:lt2>
        <a:srgbClr val="F8FDFF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Open Sans MEDIUM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2304C"/>
        </a:solidFill>
        <a:ln>
          <a:solidFill>
            <a:srgbClr val="F9FAFD"/>
          </a:solidFill>
        </a:ln>
      </a:spPr>
      <a:bodyPr rtlCol="0" anchor="ctr"/>
      <a:lstStyle>
        <a:defPPr algn="ctr">
          <a:defRPr sz="1100" b="1" dirty="0">
            <a:solidFill>
              <a:schemeClr val="bg1"/>
            </a:solidFill>
            <a:ea typeface="Times New Roman" panose="02020603050405020304" pitchFamily="18" charset="0"/>
            <a:cs typeface="Times New Roman" panose="02020603050405020304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INTERI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IRR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spAutoFit/>
      </a:bodyPr>
      <a:lstStyle>
        <a:defPPr>
          <a:defRPr sz="1200" dirty="0" smtClean="0">
            <a:solidFill>
              <a:srgbClr val="939598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IRR_PPT_10-2021_V03.pptx" id="{4665A6AD-417E-3B4A-8109-353E20492C44}" vid="{69EFDEFF-0145-4C46-8F41-7914211C7CD5}"/>
    </a:ext>
  </a:extLst>
</a:theme>
</file>

<file path=ppt/theme/theme5.xml><?xml version="1.0" encoding="utf-8"?>
<a:theme xmlns:a="http://schemas.openxmlformats.org/drawingml/2006/main" name="1_INTERI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IRR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spAutoFit/>
      </a:bodyPr>
      <a:lstStyle>
        <a:defPPr>
          <a:defRPr sz="1200" dirty="0" smtClean="0">
            <a:solidFill>
              <a:srgbClr val="939598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IRR_PPT_10-2021_V03.pptx" id="{4665A6AD-417E-3B4A-8109-353E20492C44}" vid="{69EFDEFF-0145-4C46-8F41-7914211C7CD5}"/>
    </a:ext>
  </a:extLst>
</a:theme>
</file>

<file path=ppt/theme/theme6.xml><?xml version="1.0" encoding="utf-8"?>
<a:theme xmlns:a="http://schemas.openxmlformats.org/drawingml/2006/main" name="1_INTERI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IRR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spAutoFit/>
      </a:bodyPr>
      <a:lstStyle>
        <a:defPPr>
          <a:defRPr sz="1200" dirty="0" smtClean="0">
            <a:solidFill>
              <a:srgbClr val="939598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IRR_PPT_10-2021_V03.pptx" id="{4665A6AD-417E-3B4A-8109-353E20492C44}" vid="{69EFDEFF-0145-4C46-8F41-7914211C7CD5}"/>
    </a:ext>
  </a:extLst>
</a:theme>
</file>

<file path=ppt/theme/theme7.xml><?xml version="1.0" encoding="utf-8"?>
<a:theme xmlns:a="http://schemas.openxmlformats.org/drawingml/2006/main" name="1_INTERI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IRR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spAutoFit/>
      </a:bodyPr>
      <a:lstStyle>
        <a:defPPr>
          <a:defRPr sz="1200" dirty="0" smtClean="0">
            <a:solidFill>
              <a:srgbClr val="939598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IRR_PPT_10-2021_V03.pptx" id="{4665A6AD-417E-3B4A-8109-353E20492C44}" vid="{69EFDEFF-0145-4C46-8F41-7914211C7CD5}"/>
    </a:ext>
  </a:extLst>
</a:theme>
</file>

<file path=ppt/theme/theme8.xml><?xml version="1.0" encoding="utf-8"?>
<a:theme xmlns:a="http://schemas.openxmlformats.org/drawingml/2006/main" name="1_INTERI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IRR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spAutoFit/>
      </a:bodyPr>
      <a:lstStyle>
        <a:defPPr>
          <a:defRPr sz="1200" dirty="0" smtClean="0">
            <a:solidFill>
              <a:srgbClr val="939598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IRR_PPT_10-2021_V03.pptx" id="{4665A6AD-417E-3B4A-8109-353E20492C44}" vid="{69EFDEFF-0145-4C46-8F41-7914211C7CD5}"/>
    </a:ext>
  </a:extLst>
</a:theme>
</file>

<file path=ppt/theme/theme9.xml><?xml version="1.0" encoding="utf-8"?>
<a:theme xmlns:a="http://schemas.openxmlformats.org/drawingml/2006/main" name="1_INTERIEU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IRR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 anchor="t" anchorCtr="0">
        <a:spAutoFit/>
      </a:bodyPr>
      <a:lstStyle>
        <a:defPPr>
          <a:defRPr sz="1200" dirty="0" smtClean="0">
            <a:solidFill>
              <a:srgbClr val="939598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IRR_PPT_10-2021_V03.pptx" id="{4665A6AD-417E-3B4A-8109-353E20492C44}" vid="{69EFDEFF-0145-4C46-8F41-7914211C7CD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9592fe1-76b3-425e-9982-488f19897f48">
      <Value>19</Value>
      <Value>24</Value>
      <Value>23</Value>
    </TaxCatchAll>
    <gf147c1d654543abacff4a31dfc45623 xmlns="49592fe1-76b3-425e-9982-488f19897f48">
      <Terms xmlns="http://schemas.microsoft.com/office/infopath/2007/PartnerControls">
        <TermInfo xmlns="http://schemas.microsoft.com/office/infopath/2007/PartnerControls">
          <TermName xmlns="http://schemas.microsoft.com/office/infopath/2007/PartnerControls">Stakeholders</TermName>
          <TermId xmlns="http://schemas.microsoft.com/office/infopath/2007/PartnerControls">97401783-0d37-47db-9352-a720422e86a1</TermId>
        </TermInfo>
      </Terms>
    </gf147c1d654543abacff4a31dfc45623>
    <g337828d867743cab065af36c4e1a31c xmlns="49592fe1-76b3-425e-9982-488f19897f48">
      <Terms xmlns="http://schemas.microsoft.com/office/infopath/2007/PartnerControls">
        <TermInfo xmlns="http://schemas.microsoft.com/office/infopath/2007/PartnerControls">
          <TermName xmlns="http://schemas.microsoft.com/office/infopath/2007/PartnerControls">MON - Monitoring</TermName>
          <TermId xmlns="http://schemas.microsoft.com/office/infopath/2007/PartnerControls">14fcaee7-11bd-454f-8ee8-4603210ececb</TermId>
        </TermInfo>
      </Terms>
    </g337828d867743cab065af36c4e1a31c>
    <Project_x0020_Code xmlns="49592fe1-76b3-425e-9982-488f19897f48" xsi:nil="true"/>
    <h70713ed90ce4adeabe454f2aabfa4ef xmlns="49592fe1-76b3-425e-9982-488f19897f48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esentation</TermName>
          <TermId xmlns="http://schemas.microsoft.com/office/infopath/2007/PartnerControls">d69afb93-d8c7-4c9e-870f-5298841c2f8f</TermId>
        </TermInfo>
      </Terms>
    </h70713ed90ce4adeabe454f2aabfa4ef>
    <_dlc_DocId xmlns="49592fe1-76b3-425e-9982-488f19897f48">INTID-2107188391-117</_dlc_DocId>
    <_dlc_DocIdUrl xmlns="49592fe1-76b3-425e-9982-488f19897f48">
      <Url>https://eraeuropaeu.sharepoint.com/sites/OPD/_layouts/15/DocIdRedir.aspx?ID=INTID-2107188391-117</Url>
      <Description>INTID-2107188391-117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ERA_Document" ma:contentTypeID="0x010100ED194B9F7C15044CBD43C025EAD2ECAB00E262002F4960424E886F0995433F00AD" ma:contentTypeVersion="19" ma:contentTypeDescription="Create a new document." ma:contentTypeScope="" ma:versionID="4dc07dfbbc9b903d5087fd254dc84b5d">
  <xsd:schema xmlns:xsd="http://www.w3.org/2001/XMLSchema" xmlns:xs="http://www.w3.org/2001/XMLSchema" xmlns:p="http://schemas.microsoft.com/office/2006/metadata/properties" xmlns:ns2="49592fe1-76b3-425e-9982-488f19897f48" xmlns:ns3="f04c437b-b823-4a6f-a2da-2ecd6bc47ad6" targetNamespace="http://schemas.microsoft.com/office/2006/metadata/properties" ma:root="true" ma:fieldsID="7d38397674a4e40d7e04559a39f4fa58" ns2:_="" ns3:_="">
    <xsd:import namespace="49592fe1-76b3-425e-9982-488f19897f48"/>
    <xsd:import namespace="f04c437b-b823-4a6f-a2da-2ecd6bc47ad6"/>
    <xsd:element name="properties">
      <xsd:complexType>
        <xsd:sequence>
          <xsd:element name="documentManagement">
            <xsd:complexType>
              <xsd:all>
                <xsd:element ref="ns2:Project_x0020_Code" minOccurs="0"/>
                <xsd:element ref="ns2:TaxCatchAllLabel" minOccurs="0"/>
                <xsd:element ref="ns2:TaxCatchAll" minOccurs="0"/>
                <xsd:element ref="ns2:gf147c1d654543abacff4a31dfc45623" minOccurs="0"/>
                <xsd:element ref="ns2:g337828d867743cab065af36c4e1a31c" minOccurs="0"/>
                <xsd:element ref="ns2:h70713ed90ce4adeabe454f2aabfa4ef" minOccurs="0"/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592fe1-76b3-425e-9982-488f19897f48" elementFormDefault="qualified">
    <xsd:import namespace="http://schemas.microsoft.com/office/2006/documentManagement/types"/>
    <xsd:import namespace="http://schemas.microsoft.com/office/infopath/2007/PartnerControls"/>
    <xsd:element name="Project_x0020_Code" ma:index="4" nillable="true" ma:displayName="Project Code" ma:description="Only if the project code exists" ma:internalName="Project_x0020_Code" ma:readOnly="false">
      <xsd:simpleType>
        <xsd:restriction base="dms:Text">
          <xsd:maxLength value="255"/>
        </xsd:restriction>
      </xsd:simpleType>
    </xsd:element>
    <xsd:element name="TaxCatchAllLabel" ma:index="8" nillable="true" ma:displayName="Taxonomy Catch All Column1" ma:hidden="true" ma:list="{524ef3c8-4945-454c-aec1-761dab37019a}" ma:internalName="TaxCatchAllLabel" ma:readOnly="true" ma:showField="CatchAllDataLabel" ma:web="36a9c897-2d74-410f-8d77-1a54cee6f51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9" nillable="true" ma:displayName="Taxonomy Catch All Column" ma:hidden="true" ma:list="{524ef3c8-4945-454c-aec1-761dab37019a}" ma:internalName="TaxCatchAll" ma:readOnly="false" ma:showField="CatchAllData" ma:web="36a9c897-2d74-410f-8d77-1a54cee6f51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gf147c1d654543abacff4a31dfc45623" ma:index="10" ma:taxonomy="true" ma:internalName="gf147c1d654543abacff4a31dfc45623" ma:taxonomyFieldName="Origin_x002d_Author" ma:displayName="Origin-Author" ma:readOnly="false" ma:default="1;#ERA|8287c6ea-6f12-4bfd-9fc9-6825fce534f5" ma:fieldId="{0f147c1d-6545-43ab-acff-4a31dfc45623}" ma:sspId="ec698c8c-469b-4390-ad13-30cd69364034" ma:termSetId="3bd325ee-ad60-4d4f-86e3-57acc143124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337828d867743cab065af36c4e1a31c" ma:index="11" ma:taxonomy="true" ma:internalName="g337828d867743cab065af36c4e1a31c" ma:taxonomyFieldName="Process" ma:displayName="Process" ma:indexed="true" ma:readOnly="false" ma:fieldId="{0337828d-8677-43ca-b065-af36c4e1a31c}" ma:sspId="ec698c8c-469b-4390-ad13-30cd69364034" ma:termSetId="41c32b1e-eebd-43d7-92b4-2a0b44ea664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70713ed90ce4adeabe454f2aabfa4ef" ma:index="12" ma:taxonomy="true" ma:internalName="h70713ed90ce4adeabe454f2aabfa4ef" ma:taxonomyFieldName="Document_x0020_type" ma:displayName="Document type" ma:readOnly="false" ma:fieldId="{170713ed-90ce-4ade-abe4-54f2aabfa4ef}" ma:sspId="ec698c8c-469b-4390-ad13-30cd69364034" ma:termSetId="07ece8fb-22f7-4a45-9bd0-d78559e8cdd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17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18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4c437b-b823-4a6f-a2da-2ecd6bc47a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ec698c8c-469b-4390-ad13-30cd69364034" ContentTypeId="0x010100ED194B9F7C15044CBD43C025EAD2ECAB" PreviousValue="true"/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CD575AA8-F21C-4A29-986A-B4369073B3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A9DA737-808E-48D1-989B-580387CA1E02}">
  <ds:schemaRefs>
    <ds:schemaRef ds:uri="http://schemas.openxmlformats.org/package/2006/metadata/core-properties"/>
    <ds:schemaRef ds:uri="50f33e2c-b3eb-4439-be36-bb204adc48de"/>
    <ds:schemaRef ds:uri="http://schemas.microsoft.com/office/2006/documentManagement/types"/>
    <ds:schemaRef ds:uri="http://purl.org/dc/terms/"/>
    <ds:schemaRef ds:uri="http://purl.org/dc/elements/1.1/"/>
    <ds:schemaRef ds:uri="http://schemas.microsoft.com/office/2006/metadata/properties"/>
    <ds:schemaRef ds:uri="http://schemas.microsoft.com/sharepoint/v3"/>
    <ds:schemaRef ds:uri="http://schemas.microsoft.com/office/infopath/2007/PartnerControls"/>
    <ds:schemaRef ds:uri="c2016cc5-f511-44d1-91bf-312f3a07ac7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937F4ED-CF0B-4B0C-AF1A-8D68A8FD9AC8}"/>
</file>

<file path=customXml/itemProps4.xml><?xml version="1.0" encoding="utf-8"?>
<ds:datastoreItem xmlns:ds="http://schemas.openxmlformats.org/officeDocument/2006/customXml" ds:itemID="{39115031-3553-4DD4-AA03-FEF9B43439DF}"/>
</file>

<file path=customXml/itemProps5.xml><?xml version="1.0" encoding="utf-8"?>
<ds:datastoreItem xmlns:ds="http://schemas.openxmlformats.org/officeDocument/2006/customXml" ds:itemID="{A41525E6-49E8-43EE-8D75-3B9DC7B62387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10</Words>
  <Application>Microsoft Office PowerPoint</Application>
  <PresentationFormat>Widescreen</PresentationFormat>
  <Paragraphs>204</Paragraphs>
  <Slides>1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9" baseType="lpstr">
      <vt:lpstr>Arial</vt:lpstr>
      <vt:lpstr>Calibri</vt:lpstr>
      <vt:lpstr>Corbel</vt:lpstr>
      <vt:lpstr>Open Sans</vt:lpstr>
      <vt:lpstr>Open Sans Medium</vt:lpstr>
      <vt:lpstr>Open Sans SemiBold</vt:lpstr>
      <vt:lpstr>Wingdings</vt:lpstr>
      <vt:lpstr>Wingdings 3</vt:lpstr>
      <vt:lpstr>Master </vt:lpstr>
      <vt:lpstr>2_Dark</vt:lpstr>
      <vt:lpstr>1_Dark</vt:lpstr>
      <vt:lpstr>1_INTERIEUR</vt:lpstr>
      <vt:lpstr>1_INTERIEUR</vt:lpstr>
      <vt:lpstr>1_INTERIEUR</vt:lpstr>
      <vt:lpstr>1_INTERIEUR</vt:lpstr>
      <vt:lpstr>1_INTERIEUR</vt:lpstr>
      <vt:lpstr>1_INTERIEUR</vt:lpstr>
      <vt:lpstr>1_INTERIEUR</vt:lpstr>
      <vt:lpstr>1_INTERIEUR</vt:lpstr>
      <vt:lpstr>1_INTERIEUR</vt:lpstr>
      <vt:lpstr>1_INTERIEUR</vt:lpstr>
      <vt:lpstr>1_INTERIEUR</vt:lpstr>
      <vt:lpstr>1_INTERIEUR</vt:lpstr>
      <vt:lpstr>1_INTERIEUR</vt:lpstr>
      <vt:lpstr>think-cell Slide</vt:lpstr>
      <vt:lpstr>UIRR Contribution  @ Rail Data Forum</vt:lpstr>
      <vt:lpstr>Agenda</vt:lpstr>
      <vt:lpstr>Meeting Cascading Requirements Challenge</vt:lpstr>
      <vt:lpstr>Meeting Cascading Requirements Challenge</vt:lpstr>
      <vt:lpstr>EDICT Interoperability Push:  Digital Collaboration &amp; Collaborative QMS (cQMS)</vt:lpstr>
      <vt:lpstr>EDICT Results (in progress)</vt:lpstr>
      <vt:lpstr>EDICT result:  Collaborative reconciliation process (RU-CTO)</vt:lpstr>
      <vt:lpstr>Agenda</vt:lpstr>
      <vt:lpstr>Future development direction of rail information exchange from a business ecosystem view</vt:lpstr>
      <vt:lpstr>Gaps</vt:lpstr>
      <vt:lpstr>cQMS covers terminal-to-terminal</vt:lpstr>
      <vt:lpstr>Conceptual view of reason coding within cQMS</vt:lpstr>
      <vt:lpstr>Standards -&gt; Interoperability -&gt;Willingness to share -&gt; Interfaces to share </vt:lpstr>
      <vt:lpstr>Thank you for your particip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ud Ibrahim</dc:creator>
  <cp:lastModifiedBy>Roland Klueber</cp:lastModifiedBy>
  <cp:revision>685</cp:revision>
  <cp:lastPrinted>2024-06-17T07:15:03Z</cp:lastPrinted>
  <dcterms:created xsi:type="dcterms:W3CDTF">2023-03-01T12:48:44Z</dcterms:created>
  <dcterms:modified xsi:type="dcterms:W3CDTF">2024-06-24T21:1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194B9F7C15044CBD43C025EAD2ECAB00E262002F4960424E886F0995433F00AD</vt:lpwstr>
  </property>
  <property fmtid="{D5CDD505-2E9C-101B-9397-08002B2CF9AE}" pid="3" name="MediaServiceImageTags">
    <vt:lpwstr/>
  </property>
  <property fmtid="{D5CDD505-2E9C-101B-9397-08002B2CF9AE}" pid="4" name="_dlc_DocIdItemGuid">
    <vt:lpwstr>a4d793c7-e936-432d-b179-172ee02ed68c</vt:lpwstr>
  </property>
  <property fmtid="{D5CDD505-2E9C-101B-9397-08002B2CF9AE}" pid="5" name="Origin-Author">
    <vt:lpwstr>23;#Stakeholders|97401783-0d37-47db-9352-a720422e86a1</vt:lpwstr>
  </property>
  <property fmtid="{D5CDD505-2E9C-101B-9397-08002B2CF9AE}" pid="6" name="Document type">
    <vt:lpwstr>19;#Presentation|d69afb93-d8c7-4c9e-870f-5298841c2f8f</vt:lpwstr>
  </property>
  <property fmtid="{D5CDD505-2E9C-101B-9397-08002B2CF9AE}" pid="7" name="Process">
    <vt:lpwstr>24;#MON - Monitoring|14fcaee7-11bd-454f-8ee8-4603210ececb</vt:lpwstr>
  </property>
</Properties>
</file>